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87" d="100"/>
          <a:sy n="87" d="100"/>
        </p:scale>
        <p:origin x="6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44</c:v>
                </c:pt>
                <c:pt idx="1">
                  <c:v>5949</c:v>
                </c:pt>
                <c:pt idx="2">
                  <c:v>6262</c:v>
                </c:pt>
                <c:pt idx="3">
                  <c:v>7203</c:v>
                </c:pt>
                <c:pt idx="4">
                  <c:v>7383</c:v>
                </c:pt>
                <c:pt idx="5">
                  <c:v>7373</c:v>
                </c:pt>
                <c:pt idx="6">
                  <c:v>7512</c:v>
                </c:pt>
                <c:pt idx="7">
                  <c:v>7306</c:v>
                </c:pt>
                <c:pt idx="8">
                  <c:v>6729</c:v>
                </c:pt>
                <c:pt idx="9">
                  <c:v>6839</c:v>
                </c:pt>
                <c:pt idx="10">
                  <c:v>7379</c:v>
                </c:pt>
                <c:pt idx="11">
                  <c:v>7433</c:v>
                </c:pt>
                <c:pt idx="12">
                  <c:v>7260</c:v>
                </c:pt>
                <c:pt idx="13">
                  <c:v>7183</c:v>
                </c:pt>
                <c:pt idx="14">
                  <c:v>7099</c:v>
                </c:pt>
                <c:pt idx="15">
                  <c:v>6476</c:v>
                </c:pt>
                <c:pt idx="16">
                  <c:v>6442</c:v>
                </c:pt>
                <c:pt idx="17">
                  <c:v>6929</c:v>
                </c:pt>
                <c:pt idx="18">
                  <c:v>6646</c:v>
                </c:pt>
                <c:pt idx="19">
                  <c:v>6477</c:v>
                </c:pt>
                <c:pt idx="20">
                  <c:v>6355</c:v>
                </c:pt>
                <c:pt idx="21">
                  <c:v>6332</c:v>
                </c:pt>
                <c:pt idx="22">
                  <c:v>5831</c:v>
                </c:pt>
                <c:pt idx="23">
                  <c:v>5871</c:v>
                </c:pt>
                <c:pt idx="24">
                  <c:v>6292</c:v>
                </c:pt>
                <c:pt idx="25">
                  <c:v>6254</c:v>
                </c:pt>
                <c:pt idx="26">
                  <c:v>6098</c:v>
                </c:pt>
                <c:pt idx="27">
                  <c:v>5990</c:v>
                </c:pt>
                <c:pt idx="28">
                  <c:v>5933</c:v>
                </c:pt>
                <c:pt idx="29">
                  <c:v>5492</c:v>
                </c:pt>
                <c:pt idx="30">
                  <c:v>5539</c:v>
                </c:pt>
                <c:pt idx="31">
                  <c:v>6067</c:v>
                </c:pt>
                <c:pt idx="32">
                  <c:v>5958</c:v>
                </c:pt>
                <c:pt idx="33">
                  <c:v>5928</c:v>
                </c:pt>
                <c:pt idx="34">
                  <c:v>5953</c:v>
                </c:pt>
                <c:pt idx="35">
                  <c:v>5937</c:v>
                </c:pt>
                <c:pt idx="36">
                  <c:v>5605</c:v>
                </c:pt>
                <c:pt idx="37">
                  <c:v>5746</c:v>
                </c:pt>
                <c:pt idx="38">
                  <c:v>6163</c:v>
                </c:pt>
                <c:pt idx="39">
                  <c:v>6097</c:v>
                </c:pt>
                <c:pt idx="40">
                  <c:v>6018</c:v>
                </c:pt>
                <c:pt idx="41">
                  <c:v>5994</c:v>
                </c:pt>
                <c:pt idx="42">
                  <c:v>5927</c:v>
                </c:pt>
                <c:pt idx="43">
                  <c:v>5620</c:v>
                </c:pt>
                <c:pt idx="44">
                  <c:v>5833</c:v>
                </c:pt>
                <c:pt idx="45">
                  <c:v>6317</c:v>
                </c:pt>
                <c:pt idx="46">
                  <c:v>6350</c:v>
                </c:pt>
                <c:pt idx="47">
                  <c:v>6435</c:v>
                </c:pt>
                <c:pt idx="48">
                  <c:v>6532</c:v>
                </c:pt>
                <c:pt idx="49">
                  <c:v>6547</c:v>
                </c:pt>
                <c:pt idx="50">
                  <c:v>6146</c:v>
                </c:pt>
                <c:pt idx="51">
                  <c:v>6352</c:v>
                </c:pt>
                <c:pt idx="52">
                  <c:v>7048</c:v>
                </c:pt>
                <c:pt idx="53">
                  <c:v>7082</c:v>
                </c:pt>
                <c:pt idx="54">
                  <c:v>7175</c:v>
                </c:pt>
                <c:pt idx="55">
                  <c:v>7390</c:v>
                </c:pt>
                <c:pt idx="56">
                  <c:v>7487</c:v>
                </c:pt>
                <c:pt idx="57">
                  <c:v>7195</c:v>
                </c:pt>
                <c:pt idx="58">
                  <c:v>7458</c:v>
                </c:pt>
                <c:pt idx="59">
                  <c:v>8273</c:v>
                </c:pt>
                <c:pt idx="60">
                  <c:v>8452</c:v>
                </c:pt>
                <c:pt idx="61">
                  <c:v>8395</c:v>
                </c:pt>
                <c:pt idx="62">
                  <c:v>8396</c:v>
                </c:pt>
                <c:pt idx="63">
                  <c:v>8455</c:v>
                </c:pt>
                <c:pt idx="64">
                  <c:v>8117</c:v>
                </c:pt>
                <c:pt idx="65">
                  <c:v>8340</c:v>
                </c:pt>
                <c:pt idx="66">
                  <c:v>9016</c:v>
                </c:pt>
                <c:pt idx="67">
                  <c:v>8984</c:v>
                </c:pt>
                <c:pt idx="68">
                  <c:v>9002</c:v>
                </c:pt>
                <c:pt idx="69">
                  <c:v>8969</c:v>
                </c:pt>
                <c:pt idx="70">
                  <c:v>8936</c:v>
                </c:pt>
                <c:pt idx="71">
                  <c:v>8532</c:v>
                </c:pt>
                <c:pt idx="72">
                  <c:v>8748</c:v>
                </c:pt>
                <c:pt idx="73">
                  <c:v>9457</c:v>
                </c:pt>
                <c:pt idx="74">
                  <c:v>9331</c:v>
                </c:pt>
                <c:pt idx="75">
                  <c:v>9165</c:v>
                </c:pt>
                <c:pt idx="76">
                  <c:v>8965</c:v>
                </c:pt>
                <c:pt idx="77">
                  <c:v>8773</c:v>
                </c:pt>
                <c:pt idx="78">
                  <c:v>8217</c:v>
                </c:pt>
                <c:pt idx="79">
                  <c:v>8330</c:v>
                </c:pt>
                <c:pt idx="80">
                  <c:v>8971</c:v>
                </c:pt>
                <c:pt idx="81">
                  <c:v>8623</c:v>
                </c:pt>
                <c:pt idx="82">
                  <c:v>8302</c:v>
                </c:pt>
                <c:pt idx="83">
                  <c:v>8090</c:v>
                </c:pt>
                <c:pt idx="84">
                  <c:v>7942</c:v>
                </c:pt>
                <c:pt idx="85">
                  <c:v>742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885.2017813608909</c:v>
                </c:pt>
                <c:pt idx="71">
                  <c:v>8789.2983738304101</c:v>
                </c:pt>
                <c:pt idx="72">
                  <c:v>8680.0445932863204</c:v>
                </c:pt>
                <c:pt idx="73">
                  <c:v>8554.7381207630624</c:v>
                </c:pt>
                <c:pt idx="74">
                  <c:v>8408.8923040966092</c:v>
                </c:pt>
                <c:pt idx="75">
                  <c:v>8251.0525535248598</c:v>
                </c:pt>
                <c:pt idx="76">
                  <c:v>8083.6483566379029</c:v>
                </c:pt>
                <c:pt idx="77">
                  <c:v>7904.5877680697249</c:v>
                </c:pt>
                <c:pt idx="78">
                  <c:v>7714.5819495476862</c:v>
                </c:pt>
                <c:pt idx="79">
                  <c:v>7516.1431878296744</c:v>
                </c:pt>
                <c:pt idx="80">
                  <c:v>7311.4138660891886</c:v>
                </c:pt>
                <c:pt idx="81">
                  <c:v>7101.6097399470927</c:v>
                </c:pt>
                <c:pt idx="82">
                  <c:v>6890.5496923478768</c:v>
                </c:pt>
                <c:pt idx="83">
                  <c:v>6679.4870550062587</c:v>
                </c:pt>
                <c:pt idx="84">
                  <c:v>6469.9435906098106</c:v>
                </c:pt>
                <c:pt idx="85">
                  <c:v>6262.3992024446397</c:v>
                </c:pt>
                <c:pt idx="86">
                  <c:v>6056.8930947455165</c:v>
                </c:pt>
                <c:pt idx="87">
                  <c:v>5852.0436900082404</c:v>
                </c:pt>
                <c:pt idx="88">
                  <c:v>5648.698596585843</c:v>
                </c:pt>
                <c:pt idx="89">
                  <c:v>5449.0603992986353</c:v>
                </c:pt>
                <c:pt idx="90">
                  <c:v>5253.902497155701</c:v>
                </c:pt>
                <c:pt idx="91">
                  <c:v>5063.9659919975938</c:v>
                </c:pt>
                <c:pt idx="92">
                  <c:v>4879.022239140897</c:v>
                </c:pt>
                <c:pt idx="93">
                  <c:v>4699.4279125881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30.6771307836261</c:v>
                </c:pt>
                <c:pt idx="71">
                  <c:v>8895.6229458229427</c:v>
                </c:pt>
                <c:pt idx="72">
                  <c:v>8857.120390381182</c:v>
                </c:pt>
                <c:pt idx="73">
                  <c:v>8812.2838174044045</c:v>
                </c:pt>
                <c:pt idx="74">
                  <c:v>8756.5034475521024</c:v>
                </c:pt>
                <c:pt idx="75">
                  <c:v>8695.3978636164429</c:v>
                </c:pt>
                <c:pt idx="76">
                  <c:v>8629.2554061141691</c:v>
                </c:pt>
                <c:pt idx="77">
                  <c:v>8555.1353544055837</c:v>
                </c:pt>
                <c:pt idx="78">
                  <c:v>8473.2768279380361</c:v>
                </c:pt>
                <c:pt idx="79">
                  <c:v>8385.3979832078367</c:v>
                </c:pt>
                <c:pt idx="80">
                  <c:v>8292.0092822116585</c:v>
                </c:pt>
                <c:pt idx="81">
                  <c:v>8192.1989820014023</c:v>
                </c:pt>
                <c:pt idx="82">
                  <c:v>8088.5194157191781</c:v>
                </c:pt>
                <c:pt idx="83">
                  <c:v>7982.0277666845323</c:v>
                </c:pt>
                <c:pt idx="84">
                  <c:v>7873.9759655270745</c:v>
                </c:pt>
                <c:pt idx="85">
                  <c:v>7764.4396407880522</c:v>
                </c:pt>
                <c:pt idx="86">
                  <c:v>7653.1305802850693</c:v>
                </c:pt>
                <c:pt idx="87">
                  <c:v>7538.4545088366785</c:v>
                </c:pt>
                <c:pt idx="88">
                  <c:v>7421.1563026576359</c:v>
                </c:pt>
                <c:pt idx="89">
                  <c:v>7303.3025375368961</c:v>
                </c:pt>
                <c:pt idx="90">
                  <c:v>7185.5188995325652</c:v>
                </c:pt>
                <c:pt idx="91">
                  <c:v>7068.3429569643231</c:v>
                </c:pt>
                <c:pt idx="92">
                  <c:v>6951.5004399780792</c:v>
                </c:pt>
                <c:pt idx="93">
                  <c:v>6835.4157862169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21.6278296291002</c:v>
                </c:pt>
                <c:pt idx="71">
                  <c:v>9111.4734926935798</c:v>
                </c:pt>
                <c:pt idx="72">
                  <c:v>9223.3618732678024</c:v>
                </c:pt>
                <c:pt idx="73">
                  <c:v>9355.7922884998097</c:v>
                </c:pt>
                <c:pt idx="74">
                  <c:v>9504.6715300092292</c:v>
                </c:pt>
                <c:pt idx="75">
                  <c:v>9668.4110537690249</c:v>
                </c:pt>
                <c:pt idx="76">
                  <c:v>9843.2878778518789</c:v>
                </c:pt>
                <c:pt idx="77">
                  <c:v>10026.631970941162</c:v>
                </c:pt>
                <c:pt idx="78">
                  <c:v>10220.319279251029</c:v>
                </c:pt>
                <c:pt idx="79">
                  <c:v>10425.234541688988</c:v>
                </c:pt>
                <c:pt idx="80">
                  <c:v>10638.466857340301</c:v>
                </c:pt>
                <c:pt idx="81">
                  <c:v>10854.115108492293</c:v>
                </c:pt>
                <c:pt idx="82">
                  <c:v>11072.293037962707</c:v>
                </c:pt>
                <c:pt idx="83">
                  <c:v>11294.447377160723</c:v>
                </c:pt>
                <c:pt idx="84">
                  <c:v>11522.323521347902</c:v>
                </c:pt>
                <c:pt idx="85">
                  <c:v>11755.403334393257</c:v>
                </c:pt>
                <c:pt idx="86">
                  <c:v>11992.080953281307</c:v>
                </c:pt>
                <c:pt idx="87">
                  <c:v>12229.782337846615</c:v>
                </c:pt>
                <c:pt idx="88">
                  <c:v>12468.972049394213</c:v>
                </c:pt>
                <c:pt idx="89">
                  <c:v>12711.72515643286</c:v>
                </c:pt>
                <c:pt idx="90">
                  <c:v>12958.553006894403</c:v>
                </c:pt>
                <c:pt idx="91">
                  <c:v>13209.434139067271</c:v>
                </c:pt>
                <c:pt idx="92">
                  <c:v>13463.376723093259</c:v>
                </c:pt>
                <c:pt idx="93">
                  <c:v>13720.6930474014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044.3462187809164</c:v>
                </c:pt>
                <c:pt idx="71">
                  <c:v>9166.0783747747482</c:v>
                </c:pt>
                <c:pt idx="72">
                  <c:v>9317.4315679682968</c:v>
                </c:pt>
                <c:pt idx="73">
                  <c:v>9497.5367822625358</c:v>
                </c:pt>
                <c:pt idx="74">
                  <c:v>9702.6696367314526</c:v>
                </c:pt>
                <c:pt idx="75">
                  <c:v>9929.2117956075872</c:v>
                </c:pt>
                <c:pt idx="76">
                  <c:v>10172.587016986228</c:v>
                </c:pt>
                <c:pt idx="77">
                  <c:v>10430.646956828197</c:v>
                </c:pt>
                <c:pt idx="78">
                  <c:v>10706.492550761446</c:v>
                </c:pt>
                <c:pt idx="79">
                  <c:v>11001.03197401583</c:v>
                </c:pt>
                <c:pt idx="80">
                  <c:v>11310.475856468369</c:v>
                </c:pt>
                <c:pt idx="81">
                  <c:v>11627.662357837446</c:v>
                </c:pt>
                <c:pt idx="82">
                  <c:v>11952.29912437912</c:v>
                </c:pt>
                <c:pt idx="83">
                  <c:v>12286.344071726235</c:v>
                </c:pt>
                <c:pt idx="84">
                  <c:v>12632.127517155837</c:v>
                </c:pt>
                <c:pt idx="85">
                  <c:v>12989.113052893861</c:v>
                </c:pt>
                <c:pt idx="86">
                  <c:v>13355.455237669992</c:v>
                </c:pt>
                <c:pt idx="87">
                  <c:v>13728.330236734997</c:v>
                </c:pt>
                <c:pt idx="88">
                  <c:v>14108.37037707082</c:v>
                </c:pt>
                <c:pt idx="89">
                  <c:v>14498.014123910394</c:v>
                </c:pt>
                <c:pt idx="90">
                  <c:v>14897.979858307262</c:v>
                </c:pt>
                <c:pt idx="91">
                  <c:v>15308.309090172044</c:v>
                </c:pt>
                <c:pt idx="92">
                  <c:v>15727.971934523044</c:v>
                </c:pt>
                <c:pt idx="93">
                  <c:v>16157.315810911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  <c:pt idx="61">
                  <c:v>8156</c:v>
                </c:pt>
                <c:pt idx="62">
                  <c:v>8156</c:v>
                </c:pt>
                <c:pt idx="63">
                  <c:v>8156</c:v>
                </c:pt>
                <c:pt idx="64">
                  <c:v>8156</c:v>
                </c:pt>
                <c:pt idx="65">
                  <c:v>8156</c:v>
                </c:pt>
                <c:pt idx="66">
                  <c:v>8156</c:v>
                </c:pt>
                <c:pt idx="67">
                  <c:v>8156</c:v>
                </c:pt>
                <c:pt idx="68">
                  <c:v>8156</c:v>
                </c:pt>
                <c:pt idx="69">
                  <c:v>8156</c:v>
                </c:pt>
                <c:pt idx="70">
                  <c:v>8156</c:v>
                </c:pt>
                <c:pt idx="71">
                  <c:v>8156</c:v>
                </c:pt>
                <c:pt idx="72">
                  <c:v>8156</c:v>
                </c:pt>
                <c:pt idx="73">
                  <c:v>8156</c:v>
                </c:pt>
                <c:pt idx="74">
                  <c:v>8156</c:v>
                </c:pt>
                <c:pt idx="75">
                  <c:v>8156</c:v>
                </c:pt>
                <c:pt idx="76">
                  <c:v>8156</c:v>
                </c:pt>
                <c:pt idx="77">
                  <c:v>8156</c:v>
                </c:pt>
                <c:pt idx="78">
                  <c:v>8156</c:v>
                </c:pt>
                <c:pt idx="79">
                  <c:v>8156</c:v>
                </c:pt>
                <c:pt idx="80">
                  <c:v>8156</c:v>
                </c:pt>
                <c:pt idx="81">
                  <c:v>8156</c:v>
                </c:pt>
                <c:pt idx="82">
                  <c:v>8156</c:v>
                </c:pt>
                <c:pt idx="83">
                  <c:v>8156</c:v>
                </c:pt>
                <c:pt idx="84">
                  <c:v>8156</c:v>
                </c:pt>
                <c:pt idx="85">
                  <c:v>8156</c:v>
                </c:pt>
                <c:pt idx="86">
                  <c:v>8156</c:v>
                </c:pt>
                <c:pt idx="87">
                  <c:v>8156</c:v>
                </c:pt>
                <c:pt idx="88">
                  <c:v>8156</c:v>
                </c:pt>
                <c:pt idx="89">
                  <c:v>8156</c:v>
                </c:pt>
                <c:pt idx="90">
                  <c:v>8156</c:v>
                </c:pt>
                <c:pt idx="91">
                  <c:v>8156</c:v>
                </c:pt>
                <c:pt idx="92">
                  <c:v>8156</c:v>
                </c:pt>
                <c:pt idx="93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1</c:v>
                </c:pt>
                <c:pt idx="1">
                  <c:v>314</c:v>
                </c:pt>
                <c:pt idx="2">
                  <c:v>330</c:v>
                </c:pt>
                <c:pt idx="3">
                  <c:v>364</c:v>
                </c:pt>
                <c:pt idx="4">
                  <c:v>408</c:v>
                </c:pt>
                <c:pt idx="5">
                  <c:v>413</c:v>
                </c:pt>
                <c:pt idx="6">
                  <c:v>406</c:v>
                </c:pt>
                <c:pt idx="7">
                  <c:v>395</c:v>
                </c:pt>
                <c:pt idx="8">
                  <c:v>344</c:v>
                </c:pt>
                <c:pt idx="9">
                  <c:v>352</c:v>
                </c:pt>
                <c:pt idx="10">
                  <c:v>360</c:v>
                </c:pt>
                <c:pt idx="11">
                  <c:v>375</c:v>
                </c:pt>
                <c:pt idx="12">
                  <c:v>366</c:v>
                </c:pt>
                <c:pt idx="13">
                  <c:v>372</c:v>
                </c:pt>
                <c:pt idx="14">
                  <c:v>390</c:v>
                </c:pt>
                <c:pt idx="15">
                  <c:v>353</c:v>
                </c:pt>
                <c:pt idx="16">
                  <c:v>346</c:v>
                </c:pt>
                <c:pt idx="17">
                  <c:v>386</c:v>
                </c:pt>
                <c:pt idx="18">
                  <c:v>385</c:v>
                </c:pt>
                <c:pt idx="19">
                  <c:v>386</c:v>
                </c:pt>
                <c:pt idx="20">
                  <c:v>381</c:v>
                </c:pt>
                <c:pt idx="21">
                  <c:v>383</c:v>
                </c:pt>
                <c:pt idx="22">
                  <c:v>355</c:v>
                </c:pt>
                <c:pt idx="23">
                  <c:v>346</c:v>
                </c:pt>
                <c:pt idx="24">
                  <c:v>374</c:v>
                </c:pt>
                <c:pt idx="25">
                  <c:v>369</c:v>
                </c:pt>
                <c:pt idx="26">
                  <c:v>356</c:v>
                </c:pt>
                <c:pt idx="27">
                  <c:v>347</c:v>
                </c:pt>
                <c:pt idx="28">
                  <c:v>360</c:v>
                </c:pt>
                <c:pt idx="29">
                  <c:v>332</c:v>
                </c:pt>
                <c:pt idx="30">
                  <c:v>333</c:v>
                </c:pt>
                <c:pt idx="31">
                  <c:v>363</c:v>
                </c:pt>
                <c:pt idx="32">
                  <c:v>355</c:v>
                </c:pt>
                <c:pt idx="33">
                  <c:v>355</c:v>
                </c:pt>
                <c:pt idx="34">
                  <c:v>359</c:v>
                </c:pt>
                <c:pt idx="35">
                  <c:v>366</c:v>
                </c:pt>
                <c:pt idx="36">
                  <c:v>347</c:v>
                </c:pt>
                <c:pt idx="37">
                  <c:v>365</c:v>
                </c:pt>
                <c:pt idx="38">
                  <c:v>394</c:v>
                </c:pt>
                <c:pt idx="39">
                  <c:v>381</c:v>
                </c:pt>
                <c:pt idx="40">
                  <c:v>382</c:v>
                </c:pt>
                <c:pt idx="41">
                  <c:v>386</c:v>
                </c:pt>
                <c:pt idx="42">
                  <c:v>389</c:v>
                </c:pt>
                <c:pt idx="43">
                  <c:v>364</c:v>
                </c:pt>
                <c:pt idx="44">
                  <c:v>384</c:v>
                </c:pt>
                <c:pt idx="45">
                  <c:v>390</c:v>
                </c:pt>
                <c:pt idx="46">
                  <c:v>411</c:v>
                </c:pt>
                <c:pt idx="47">
                  <c:v>383</c:v>
                </c:pt>
                <c:pt idx="48">
                  <c:v>405</c:v>
                </c:pt>
                <c:pt idx="49">
                  <c:v>413</c:v>
                </c:pt>
                <c:pt idx="50">
                  <c:v>397</c:v>
                </c:pt>
                <c:pt idx="51">
                  <c:v>394</c:v>
                </c:pt>
                <c:pt idx="52">
                  <c:v>449</c:v>
                </c:pt>
                <c:pt idx="53">
                  <c:v>456</c:v>
                </c:pt>
                <c:pt idx="54">
                  <c:v>473</c:v>
                </c:pt>
                <c:pt idx="55">
                  <c:v>486</c:v>
                </c:pt>
                <c:pt idx="56">
                  <c:v>485</c:v>
                </c:pt>
                <c:pt idx="57">
                  <c:v>489</c:v>
                </c:pt>
                <c:pt idx="58">
                  <c:v>504</c:v>
                </c:pt>
                <c:pt idx="59">
                  <c:v>534</c:v>
                </c:pt>
                <c:pt idx="60">
                  <c:v>543</c:v>
                </c:pt>
                <c:pt idx="61">
                  <c:v>554</c:v>
                </c:pt>
                <c:pt idx="62">
                  <c:v>543</c:v>
                </c:pt>
                <c:pt idx="63">
                  <c:v>532</c:v>
                </c:pt>
                <c:pt idx="64">
                  <c:v>508</c:v>
                </c:pt>
                <c:pt idx="65">
                  <c:v>517</c:v>
                </c:pt>
                <c:pt idx="66">
                  <c:v>567</c:v>
                </c:pt>
                <c:pt idx="67">
                  <c:v>563</c:v>
                </c:pt>
                <c:pt idx="68">
                  <c:v>563</c:v>
                </c:pt>
                <c:pt idx="69">
                  <c:v>580</c:v>
                </c:pt>
                <c:pt idx="70">
                  <c:v>569</c:v>
                </c:pt>
                <c:pt idx="71">
                  <c:v>548</c:v>
                </c:pt>
                <c:pt idx="72">
                  <c:v>556</c:v>
                </c:pt>
                <c:pt idx="73">
                  <c:v>589</c:v>
                </c:pt>
                <c:pt idx="74">
                  <c:v>583</c:v>
                </c:pt>
                <c:pt idx="75">
                  <c:v>540</c:v>
                </c:pt>
                <c:pt idx="76">
                  <c:v>539</c:v>
                </c:pt>
                <c:pt idx="77">
                  <c:v>535</c:v>
                </c:pt>
                <c:pt idx="78">
                  <c:v>483</c:v>
                </c:pt>
                <c:pt idx="79">
                  <c:v>505</c:v>
                </c:pt>
                <c:pt idx="80">
                  <c:v>514</c:v>
                </c:pt>
                <c:pt idx="81">
                  <c:v>514</c:v>
                </c:pt>
                <c:pt idx="82">
                  <c:v>507</c:v>
                </c:pt>
                <c:pt idx="83">
                  <c:v>498</c:v>
                </c:pt>
                <c:pt idx="84">
                  <c:v>464</c:v>
                </c:pt>
                <c:pt idx="85">
                  <c:v>42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38.06346048248042</c:v>
                </c:pt>
                <c:pt idx="71">
                  <c:v>532.60164483609367</c:v>
                </c:pt>
                <c:pt idx="72">
                  <c:v>526.30116477707179</c:v>
                </c:pt>
                <c:pt idx="73">
                  <c:v>518.97680668970168</c:v>
                </c:pt>
                <c:pt idx="74">
                  <c:v>510.34405334883775</c:v>
                </c:pt>
                <c:pt idx="75">
                  <c:v>500.9529679446797</c:v>
                </c:pt>
                <c:pt idx="76">
                  <c:v>490.96587490990549</c:v>
                </c:pt>
                <c:pt idx="77">
                  <c:v>480.24898550475285</c:v>
                </c:pt>
                <c:pt idx="78">
                  <c:v>468.84530059167309</c:v>
                </c:pt>
                <c:pt idx="79">
                  <c:v>456.90551923001425</c:v>
                </c:pt>
                <c:pt idx="80">
                  <c:v>444.55453552309194</c:v>
                </c:pt>
                <c:pt idx="81">
                  <c:v>431.86551612835945</c:v>
                </c:pt>
                <c:pt idx="82">
                  <c:v>419.08552102391462</c:v>
                </c:pt>
                <c:pt idx="83">
                  <c:v>406.29795410724341</c:v>
                </c:pt>
                <c:pt idx="84">
                  <c:v>393.59184606167162</c:v>
                </c:pt>
                <c:pt idx="85">
                  <c:v>380.9963649288884</c:v>
                </c:pt>
                <c:pt idx="86">
                  <c:v>368.51910572156322</c:v>
                </c:pt>
                <c:pt idx="87">
                  <c:v>356.08025195271762</c:v>
                </c:pt>
                <c:pt idx="88">
                  <c:v>343.72445314896402</c:v>
                </c:pt>
                <c:pt idx="89">
                  <c:v>331.58607500806181</c:v>
                </c:pt>
                <c:pt idx="90">
                  <c:v>319.71511641317028</c:v>
                </c:pt>
                <c:pt idx="91">
                  <c:v>308.15717937772774</c:v>
                </c:pt>
                <c:pt idx="92">
                  <c:v>296.89960126226151</c:v>
                </c:pt>
                <c:pt idx="93">
                  <c:v>285.964540161287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40.83853133615162</c:v>
                </c:pt>
                <c:pt idx="71">
                  <c:v>539.08983363058212</c:v>
                </c:pt>
                <c:pt idx="72">
                  <c:v>537.10599192657799</c:v>
                </c:pt>
                <c:pt idx="73">
                  <c:v>534.68917281651147</c:v>
                </c:pt>
                <c:pt idx="74">
                  <c:v>531.54724061103263</c:v>
                </c:pt>
                <c:pt idx="75">
                  <c:v>528.0509943705988</c:v>
                </c:pt>
                <c:pt idx="76">
                  <c:v>524.23222956694281</c:v>
                </c:pt>
                <c:pt idx="77">
                  <c:v>519.90425358108519</c:v>
                </c:pt>
                <c:pt idx="78">
                  <c:v>515.08296209933519</c:v>
                </c:pt>
                <c:pt idx="79">
                  <c:v>509.87233510803037</c:v>
                </c:pt>
                <c:pt idx="80">
                  <c:v>504.29845405398157</c:v>
                </c:pt>
                <c:pt idx="81">
                  <c:v>498.30568636429388</c:v>
                </c:pt>
                <c:pt idx="82">
                  <c:v>492.06385446339794</c:v>
                </c:pt>
                <c:pt idx="83">
                  <c:v>485.64430247620305</c:v>
                </c:pt>
                <c:pt idx="84">
                  <c:v>479.11969594322409</c:v>
                </c:pt>
                <c:pt idx="85">
                  <c:v>472.49403319195176</c:v>
                </c:pt>
                <c:pt idx="86">
                  <c:v>465.75528040009135</c:v>
                </c:pt>
                <c:pt idx="87">
                  <c:v>458.8108664531162</c:v>
                </c:pt>
                <c:pt idx="88">
                  <c:v>451.69888947109018</c:v>
                </c:pt>
                <c:pt idx="89">
                  <c:v>444.54554070351071</c:v>
                </c:pt>
                <c:pt idx="90">
                  <c:v>437.39148668589661</c:v>
                </c:pt>
                <c:pt idx="91">
                  <c:v>430.26969921036033</c:v>
                </c:pt>
                <c:pt idx="92">
                  <c:v>423.16426815201896</c:v>
                </c:pt>
                <c:pt idx="93">
                  <c:v>416.101389783342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46.3886730434939</c:v>
                </c:pt>
                <c:pt idx="71">
                  <c:v>552.26157244165802</c:v>
                </c:pt>
                <c:pt idx="72">
                  <c:v>559.45340648863294</c:v>
                </c:pt>
                <c:pt idx="73">
                  <c:v>567.84793685315663</c:v>
                </c:pt>
                <c:pt idx="74">
                  <c:v>577.18416438448253</c:v>
                </c:pt>
                <c:pt idx="75">
                  <c:v>587.39153094570236</c:v>
                </c:pt>
                <c:pt idx="76">
                  <c:v>598.25701866116651</c:v>
                </c:pt>
                <c:pt idx="77">
                  <c:v>609.60797661787853</c:v>
                </c:pt>
                <c:pt idx="78">
                  <c:v>621.56331011389693</c:v>
                </c:pt>
                <c:pt idx="79">
                  <c:v>634.17940816747</c:v>
                </c:pt>
                <c:pt idx="80">
                  <c:v>647.27500690645343</c:v>
                </c:pt>
                <c:pt idx="81">
                  <c:v>660.49202117756215</c:v>
                </c:pt>
                <c:pt idx="82">
                  <c:v>673.85167673713067</c:v>
                </c:pt>
                <c:pt idx="83">
                  <c:v>687.44897639318697</c:v>
                </c:pt>
                <c:pt idx="84">
                  <c:v>701.38688603667629</c:v>
                </c:pt>
                <c:pt idx="85">
                  <c:v>715.63213127315134</c:v>
                </c:pt>
                <c:pt idx="86">
                  <c:v>730.09296557548612</c:v>
                </c:pt>
                <c:pt idx="87">
                  <c:v>744.61756462403036</c:v>
                </c:pt>
                <c:pt idx="88">
                  <c:v>759.22652285166691</c:v>
                </c:pt>
                <c:pt idx="89">
                  <c:v>774.04693743073608</c:v>
                </c:pt>
                <c:pt idx="90">
                  <c:v>789.11195453538289</c:v>
                </c:pt>
                <c:pt idx="91">
                  <c:v>804.42003635415858</c:v>
                </c:pt>
                <c:pt idx="92">
                  <c:v>819.91057178665892</c:v>
                </c:pt>
                <c:pt idx="93">
                  <c:v>835.60276336278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47.77503159549747</c:v>
                </c:pt>
                <c:pt idx="71">
                  <c:v>555.59369933917048</c:v>
                </c:pt>
                <c:pt idx="72">
                  <c:v>565.1933867499489</c:v>
                </c:pt>
                <c:pt idx="73">
                  <c:v>576.49566068442391</c:v>
                </c:pt>
                <c:pt idx="74">
                  <c:v>589.26189503767148</c:v>
                </c:pt>
                <c:pt idx="75">
                  <c:v>603.29722981551674</c:v>
                </c:pt>
                <c:pt idx="76">
                  <c:v>618.33651143328336</c:v>
                </c:pt>
                <c:pt idx="77">
                  <c:v>634.23824875482751</c:v>
                </c:pt>
                <c:pt idx="78">
                  <c:v>651.19681894893165</c:v>
                </c:pt>
                <c:pt idx="79">
                  <c:v>669.27080397585814</c:v>
                </c:pt>
                <c:pt idx="80">
                  <c:v>688.22566032774921</c:v>
                </c:pt>
                <c:pt idx="81">
                  <c:v>707.62684203071353</c:v>
                </c:pt>
                <c:pt idx="82">
                  <c:v>727.47084941140258</c:v>
                </c:pt>
                <c:pt idx="83">
                  <c:v>747.88384331665759</c:v>
                </c:pt>
                <c:pt idx="84">
                  <c:v>769.00450553620078</c:v>
                </c:pt>
                <c:pt idx="85">
                  <c:v>790.79815132692261</c:v>
                </c:pt>
                <c:pt idx="86">
                  <c:v>813.15856246321482</c:v>
                </c:pt>
                <c:pt idx="87">
                  <c:v>835.91880441081048</c:v>
                </c:pt>
                <c:pt idx="88">
                  <c:v>859.10962304627992</c:v>
                </c:pt>
                <c:pt idx="89">
                  <c:v>882.88039082706621</c:v>
                </c:pt>
                <c:pt idx="90">
                  <c:v>907.27674641693613</c:v>
                </c:pt>
                <c:pt idx="91">
                  <c:v>932.30087250155486</c:v>
                </c:pt>
                <c:pt idx="92">
                  <c:v>957.88959166140603</c:v>
                </c:pt>
                <c:pt idx="93">
                  <c:v>984.06419952677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9</c:v>
                </c:pt>
                <c:pt idx="1">
                  <c:v>379</c:v>
                </c:pt>
                <c:pt idx="2">
                  <c:v>379</c:v>
                </c:pt>
                <c:pt idx="3">
                  <c:v>379</c:v>
                </c:pt>
                <c:pt idx="4">
                  <c:v>379</c:v>
                </c:pt>
                <c:pt idx="5">
                  <c:v>379</c:v>
                </c:pt>
                <c:pt idx="6">
                  <c:v>379</c:v>
                </c:pt>
                <c:pt idx="7">
                  <c:v>379</c:v>
                </c:pt>
                <c:pt idx="8">
                  <c:v>379</c:v>
                </c:pt>
                <c:pt idx="9">
                  <c:v>379</c:v>
                </c:pt>
                <c:pt idx="10">
                  <c:v>379</c:v>
                </c:pt>
                <c:pt idx="11">
                  <c:v>379</c:v>
                </c:pt>
                <c:pt idx="12">
                  <c:v>379</c:v>
                </c:pt>
                <c:pt idx="13">
                  <c:v>379</c:v>
                </c:pt>
                <c:pt idx="14">
                  <c:v>379</c:v>
                </c:pt>
                <c:pt idx="15">
                  <c:v>379</c:v>
                </c:pt>
                <c:pt idx="16">
                  <c:v>379</c:v>
                </c:pt>
                <c:pt idx="17">
                  <c:v>379</c:v>
                </c:pt>
                <c:pt idx="18">
                  <c:v>379</c:v>
                </c:pt>
                <c:pt idx="19">
                  <c:v>379</c:v>
                </c:pt>
                <c:pt idx="20">
                  <c:v>379</c:v>
                </c:pt>
                <c:pt idx="21">
                  <c:v>379</c:v>
                </c:pt>
                <c:pt idx="22">
                  <c:v>379</c:v>
                </c:pt>
                <c:pt idx="23">
                  <c:v>379</c:v>
                </c:pt>
                <c:pt idx="24">
                  <c:v>379</c:v>
                </c:pt>
                <c:pt idx="25">
                  <c:v>379</c:v>
                </c:pt>
                <c:pt idx="26">
                  <c:v>379</c:v>
                </c:pt>
                <c:pt idx="27">
                  <c:v>379</c:v>
                </c:pt>
                <c:pt idx="28">
                  <c:v>379</c:v>
                </c:pt>
                <c:pt idx="29">
                  <c:v>379</c:v>
                </c:pt>
                <c:pt idx="30">
                  <c:v>379</c:v>
                </c:pt>
                <c:pt idx="31">
                  <c:v>379</c:v>
                </c:pt>
                <c:pt idx="32">
                  <c:v>379</c:v>
                </c:pt>
                <c:pt idx="33">
                  <c:v>379</c:v>
                </c:pt>
                <c:pt idx="34">
                  <c:v>379</c:v>
                </c:pt>
                <c:pt idx="35">
                  <c:v>379</c:v>
                </c:pt>
                <c:pt idx="36">
                  <c:v>379</c:v>
                </c:pt>
                <c:pt idx="37">
                  <c:v>379</c:v>
                </c:pt>
                <c:pt idx="38">
                  <c:v>379</c:v>
                </c:pt>
                <c:pt idx="39">
                  <c:v>379</c:v>
                </c:pt>
                <c:pt idx="40">
                  <c:v>379</c:v>
                </c:pt>
                <c:pt idx="41">
                  <c:v>379</c:v>
                </c:pt>
                <c:pt idx="42">
                  <c:v>379</c:v>
                </c:pt>
                <c:pt idx="43">
                  <c:v>379</c:v>
                </c:pt>
                <c:pt idx="44">
                  <c:v>379</c:v>
                </c:pt>
                <c:pt idx="45">
                  <c:v>379</c:v>
                </c:pt>
                <c:pt idx="46">
                  <c:v>379</c:v>
                </c:pt>
                <c:pt idx="47">
                  <c:v>379</c:v>
                </c:pt>
                <c:pt idx="48">
                  <c:v>379</c:v>
                </c:pt>
                <c:pt idx="49">
                  <c:v>379</c:v>
                </c:pt>
                <c:pt idx="50">
                  <c:v>379</c:v>
                </c:pt>
                <c:pt idx="51">
                  <c:v>379</c:v>
                </c:pt>
                <c:pt idx="52">
                  <c:v>379</c:v>
                </c:pt>
                <c:pt idx="53">
                  <c:v>379</c:v>
                </c:pt>
                <c:pt idx="54">
                  <c:v>379</c:v>
                </c:pt>
                <c:pt idx="55">
                  <c:v>379</c:v>
                </c:pt>
                <c:pt idx="56">
                  <c:v>379</c:v>
                </c:pt>
                <c:pt idx="57">
                  <c:v>379</c:v>
                </c:pt>
                <c:pt idx="58">
                  <c:v>379</c:v>
                </c:pt>
                <c:pt idx="59">
                  <c:v>379</c:v>
                </c:pt>
                <c:pt idx="60">
                  <c:v>379</c:v>
                </c:pt>
                <c:pt idx="61">
                  <c:v>379</c:v>
                </c:pt>
                <c:pt idx="62">
                  <c:v>379</c:v>
                </c:pt>
                <c:pt idx="63">
                  <c:v>379</c:v>
                </c:pt>
                <c:pt idx="64">
                  <c:v>379</c:v>
                </c:pt>
                <c:pt idx="65">
                  <c:v>379</c:v>
                </c:pt>
                <c:pt idx="66">
                  <c:v>379</c:v>
                </c:pt>
                <c:pt idx="67">
                  <c:v>379</c:v>
                </c:pt>
                <c:pt idx="68">
                  <c:v>379</c:v>
                </c:pt>
                <c:pt idx="69">
                  <c:v>379</c:v>
                </c:pt>
                <c:pt idx="70">
                  <c:v>379</c:v>
                </c:pt>
                <c:pt idx="71">
                  <c:v>379</c:v>
                </c:pt>
                <c:pt idx="72">
                  <c:v>379</c:v>
                </c:pt>
                <c:pt idx="73">
                  <c:v>379</c:v>
                </c:pt>
                <c:pt idx="74">
                  <c:v>379</c:v>
                </c:pt>
                <c:pt idx="75">
                  <c:v>379</c:v>
                </c:pt>
                <c:pt idx="76">
                  <c:v>379</c:v>
                </c:pt>
                <c:pt idx="77">
                  <c:v>379</c:v>
                </c:pt>
                <c:pt idx="78">
                  <c:v>379</c:v>
                </c:pt>
                <c:pt idx="79">
                  <c:v>379</c:v>
                </c:pt>
                <c:pt idx="80">
                  <c:v>379</c:v>
                </c:pt>
                <c:pt idx="81">
                  <c:v>379</c:v>
                </c:pt>
                <c:pt idx="82">
                  <c:v>379</c:v>
                </c:pt>
                <c:pt idx="83">
                  <c:v>379</c:v>
                </c:pt>
                <c:pt idx="84">
                  <c:v>379</c:v>
                </c:pt>
                <c:pt idx="85">
                  <c:v>379</c:v>
                </c:pt>
                <c:pt idx="86">
                  <c:v>379</c:v>
                </c:pt>
                <c:pt idx="87">
                  <c:v>379</c:v>
                </c:pt>
                <c:pt idx="88">
                  <c:v>379</c:v>
                </c:pt>
                <c:pt idx="89">
                  <c:v>379</c:v>
                </c:pt>
                <c:pt idx="90">
                  <c:v>379</c:v>
                </c:pt>
                <c:pt idx="91">
                  <c:v>379</c:v>
                </c:pt>
                <c:pt idx="92">
                  <c:v>379</c:v>
                </c:pt>
                <c:pt idx="93">
                  <c:v>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7</c:v>
                </c:pt>
                <c:pt idx="1">
                  <c:v>287</c:v>
                </c:pt>
                <c:pt idx="2">
                  <c:v>304</c:v>
                </c:pt>
                <c:pt idx="3">
                  <c:v>382</c:v>
                </c:pt>
                <c:pt idx="4">
                  <c:v>356</c:v>
                </c:pt>
                <c:pt idx="5">
                  <c:v>357</c:v>
                </c:pt>
                <c:pt idx="6">
                  <c:v>366</c:v>
                </c:pt>
                <c:pt idx="7">
                  <c:v>370</c:v>
                </c:pt>
                <c:pt idx="8">
                  <c:v>318</c:v>
                </c:pt>
                <c:pt idx="9">
                  <c:v>316</c:v>
                </c:pt>
                <c:pt idx="10">
                  <c:v>349</c:v>
                </c:pt>
                <c:pt idx="11">
                  <c:v>354</c:v>
                </c:pt>
                <c:pt idx="12">
                  <c:v>336</c:v>
                </c:pt>
                <c:pt idx="13">
                  <c:v>329</c:v>
                </c:pt>
                <c:pt idx="14">
                  <c:v>297</c:v>
                </c:pt>
                <c:pt idx="15">
                  <c:v>249</c:v>
                </c:pt>
                <c:pt idx="16">
                  <c:v>250</c:v>
                </c:pt>
                <c:pt idx="17">
                  <c:v>270</c:v>
                </c:pt>
                <c:pt idx="18">
                  <c:v>255</c:v>
                </c:pt>
                <c:pt idx="19">
                  <c:v>241</c:v>
                </c:pt>
                <c:pt idx="20">
                  <c:v>228</c:v>
                </c:pt>
                <c:pt idx="21">
                  <c:v>213</c:v>
                </c:pt>
                <c:pt idx="22">
                  <c:v>194</c:v>
                </c:pt>
                <c:pt idx="23">
                  <c:v>204</c:v>
                </c:pt>
                <c:pt idx="24">
                  <c:v>232</c:v>
                </c:pt>
                <c:pt idx="25">
                  <c:v>218</c:v>
                </c:pt>
                <c:pt idx="26">
                  <c:v>228</c:v>
                </c:pt>
                <c:pt idx="27">
                  <c:v>220</c:v>
                </c:pt>
                <c:pt idx="28">
                  <c:v>197</c:v>
                </c:pt>
                <c:pt idx="29">
                  <c:v>179</c:v>
                </c:pt>
                <c:pt idx="30">
                  <c:v>179</c:v>
                </c:pt>
                <c:pt idx="31">
                  <c:v>188</c:v>
                </c:pt>
                <c:pt idx="32">
                  <c:v>166</c:v>
                </c:pt>
                <c:pt idx="33">
                  <c:v>162</c:v>
                </c:pt>
                <c:pt idx="34">
                  <c:v>172</c:v>
                </c:pt>
                <c:pt idx="35">
                  <c:v>174</c:v>
                </c:pt>
                <c:pt idx="36">
                  <c:v>178</c:v>
                </c:pt>
                <c:pt idx="37">
                  <c:v>186</c:v>
                </c:pt>
                <c:pt idx="38">
                  <c:v>194</c:v>
                </c:pt>
                <c:pt idx="39">
                  <c:v>181</c:v>
                </c:pt>
                <c:pt idx="40">
                  <c:v>192</c:v>
                </c:pt>
                <c:pt idx="41">
                  <c:v>173</c:v>
                </c:pt>
                <c:pt idx="42">
                  <c:v>165</c:v>
                </c:pt>
                <c:pt idx="43">
                  <c:v>140</c:v>
                </c:pt>
                <c:pt idx="44">
                  <c:v>157</c:v>
                </c:pt>
                <c:pt idx="45">
                  <c:v>176</c:v>
                </c:pt>
                <c:pt idx="46">
                  <c:v>185</c:v>
                </c:pt>
                <c:pt idx="47">
                  <c:v>184</c:v>
                </c:pt>
                <c:pt idx="48">
                  <c:v>188</c:v>
                </c:pt>
                <c:pt idx="49">
                  <c:v>171</c:v>
                </c:pt>
                <c:pt idx="50">
                  <c:v>157</c:v>
                </c:pt>
                <c:pt idx="51">
                  <c:v>165</c:v>
                </c:pt>
                <c:pt idx="52">
                  <c:v>148</c:v>
                </c:pt>
                <c:pt idx="53">
                  <c:v>203</c:v>
                </c:pt>
                <c:pt idx="54">
                  <c:v>171</c:v>
                </c:pt>
                <c:pt idx="55">
                  <c:v>175</c:v>
                </c:pt>
                <c:pt idx="56">
                  <c:v>184</c:v>
                </c:pt>
                <c:pt idx="57">
                  <c:v>170</c:v>
                </c:pt>
                <c:pt idx="58">
                  <c:v>184</c:v>
                </c:pt>
                <c:pt idx="59">
                  <c:v>227</c:v>
                </c:pt>
                <c:pt idx="60">
                  <c:v>234</c:v>
                </c:pt>
                <c:pt idx="61">
                  <c:v>230</c:v>
                </c:pt>
                <c:pt idx="62">
                  <c:v>250</c:v>
                </c:pt>
                <c:pt idx="63">
                  <c:v>243</c:v>
                </c:pt>
                <c:pt idx="64">
                  <c:v>226</c:v>
                </c:pt>
                <c:pt idx="65">
                  <c:v>234</c:v>
                </c:pt>
                <c:pt idx="66">
                  <c:v>282</c:v>
                </c:pt>
                <c:pt idx="67">
                  <c:v>278</c:v>
                </c:pt>
                <c:pt idx="68">
                  <c:v>274</c:v>
                </c:pt>
                <c:pt idx="69">
                  <c:v>275</c:v>
                </c:pt>
                <c:pt idx="70">
                  <c:v>295</c:v>
                </c:pt>
                <c:pt idx="71">
                  <c:v>275</c:v>
                </c:pt>
                <c:pt idx="72">
                  <c:v>284</c:v>
                </c:pt>
                <c:pt idx="73">
                  <c:v>330</c:v>
                </c:pt>
                <c:pt idx="74">
                  <c:v>311</c:v>
                </c:pt>
                <c:pt idx="75">
                  <c:v>302</c:v>
                </c:pt>
                <c:pt idx="76">
                  <c:v>296</c:v>
                </c:pt>
                <c:pt idx="77">
                  <c:v>281</c:v>
                </c:pt>
                <c:pt idx="78">
                  <c:v>261</c:v>
                </c:pt>
                <c:pt idx="79">
                  <c:v>271</c:v>
                </c:pt>
                <c:pt idx="80">
                  <c:v>306</c:v>
                </c:pt>
                <c:pt idx="81">
                  <c:v>260</c:v>
                </c:pt>
                <c:pt idx="82">
                  <c:v>263</c:v>
                </c:pt>
                <c:pt idx="83">
                  <c:v>257</c:v>
                </c:pt>
                <c:pt idx="84">
                  <c:v>242</c:v>
                </c:pt>
                <c:pt idx="85">
                  <c:v>21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79.21058460231222</c:v>
                </c:pt>
                <c:pt idx="71">
                  <c:v>276.13391591466473</c:v>
                </c:pt>
                <c:pt idx="72">
                  <c:v>272.64322216667949</c:v>
                </c:pt>
                <c:pt idx="73">
                  <c:v>268.65751286802674</c:v>
                </c:pt>
                <c:pt idx="74">
                  <c:v>264.03813267289689</c:v>
                </c:pt>
                <c:pt idx="75">
                  <c:v>259.04768205843192</c:v>
                </c:pt>
                <c:pt idx="76">
                  <c:v>253.75973752328176</c:v>
                </c:pt>
                <c:pt idx="77">
                  <c:v>248.10985540465413</c:v>
                </c:pt>
                <c:pt idx="78">
                  <c:v>242.12039527187673</c:v>
                </c:pt>
                <c:pt idx="79">
                  <c:v>235.87056568577233</c:v>
                </c:pt>
                <c:pt idx="80">
                  <c:v>229.42857127656708</c:v>
                </c:pt>
                <c:pt idx="81">
                  <c:v>222.83269929478809</c:v>
                </c:pt>
                <c:pt idx="82">
                  <c:v>216.20007809003582</c:v>
                </c:pt>
                <c:pt idx="83">
                  <c:v>209.56872582503968</c:v>
                </c:pt>
                <c:pt idx="84">
                  <c:v>202.9870314507109</c:v>
                </c:pt>
                <c:pt idx="85">
                  <c:v>196.47005617734249</c:v>
                </c:pt>
                <c:pt idx="86">
                  <c:v>190.01808120321175</c:v>
                </c:pt>
                <c:pt idx="87">
                  <c:v>183.58699076686469</c:v>
                </c:pt>
                <c:pt idx="88">
                  <c:v>177.20463665355305</c:v>
                </c:pt>
                <c:pt idx="89">
                  <c:v>170.94005433790372</c:v>
                </c:pt>
                <c:pt idx="90">
                  <c:v>164.81697110570371</c:v>
                </c:pt>
                <c:pt idx="91">
                  <c:v>158.85854385996063</c:v>
                </c:pt>
                <c:pt idx="92">
                  <c:v>153.05737210303789</c:v>
                </c:pt>
                <c:pt idx="93">
                  <c:v>147.42456226059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80.635750046878</c:v>
                </c:pt>
                <c:pt idx="71">
                  <c:v>279.46607546585921</c:v>
                </c:pt>
                <c:pt idx="72">
                  <c:v>278.19283159352324</c:v>
                </c:pt>
                <c:pt idx="73">
                  <c:v>276.72954342480779</c:v>
                </c:pt>
                <c:pt idx="74">
                  <c:v>274.93371597912773</c:v>
                </c:pt>
                <c:pt idx="75">
                  <c:v>272.97634493840252</c:v>
                </c:pt>
                <c:pt idx="76">
                  <c:v>270.86388079301389</c:v>
                </c:pt>
                <c:pt idx="77">
                  <c:v>268.50548173184416</c:v>
                </c:pt>
                <c:pt idx="78">
                  <c:v>265.90840416813353</c:v>
                </c:pt>
                <c:pt idx="79">
                  <c:v>263.12665201489506</c:v>
                </c:pt>
                <c:pt idx="80">
                  <c:v>260.17714585507139</c:v>
                </c:pt>
                <c:pt idx="81">
                  <c:v>257.03131134292329</c:v>
                </c:pt>
                <c:pt idx="82">
                  <c:v>253.76657459519413</c:v>
                </c:pt>
                <c:pt idx="83">
                  <c:v>250.41482302719044</c:v>
                </c:pt>
                <c:pt idx="84">
                  <c:v>247.01597085231114</c:v>
                </c:pt>
                <c:pt idx="85">
                  <c:v>243.57250053949417</c:v>
                </c:pt>
                <c:pt idx="86">
                  <c:v>240.07436831221372</c:v>
                </c:pt>
                <c:pt idx="87">
                  <c:v>236.47075164734417</c:v>
                </c:pt>
                <c:pt idx="88">
                  <c:v>232.78633418942417</c:v>
                </c:pt>
                <c:pt idx="89">
                  <c:v>229.08586616477038</c:v>
                </c:pt>
                <c:pt idx="90">
                  <c:v>225.38850361615806</c:v>
                </c:pt>
                <c:pt idx="91">
                  <c:v>221.7110630675912</c:v>
                </c:pt>
                <c:pt idx="92">
                  <c:v>218.04479852574443</c:v>
                </c:pt>
                <c:pt idx="93">
                  <c:v>214.402957746423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83.4860809360095</c:v>
                </c:pt>
                <c:pt idx="71">
                  <c:v>286.2307242814789</c:v>
                </c:pt>
                <c:pt idx="72">
                  <c:v>289.67094061964849</c:v>
                </c:pt>
                <c:pt idx="73">
                  <c:v>293.76419058589249</c:v>
                </c:pt>
                <c:pt idx="74">
                  <c:v>298.38423855356973</c:v>
                </c:pt>
                <c:pt idx="75">
                  <c:v>303.47649658246087</c:v>
                </c:pt>
                <c:pt idx="76">
                  <c:v>308.92170822058904</c:v>
                </c:pt>
                <c:pt idx="77">
                  <c:v>314.63796590112736</c:v>
                </c:pt>
                <c:pt idx="78">
                  <c:v>320.68325404249202</c:v>
                </c:pt>
                <c:pt idx="79">
                  <c:v>327.08486285754782</c:v>
                </c:pt>
                <c:pt idx="80">
                  <c:v>333.75222783319282</c:v>
                </c:pt>
                <c:pt idx="81">
                  <c:v>340.50004378864821</c:v>
                </c:pt>
                <c:pt idx="82">
                  <c:v>347.32927398990824</c:v>
                </c:pt>
                <c:pt idx="83">
                  <c:v>354.28403458513066</c:v>
                </c:pt>
                <c:pt idx="84">
                  <c:v>361.41967050463245</c:v>
                </c:pt>
                <c:pt idx="85">
                  <c:v>368.72024526810333</c:v>
                </c:pt>
                <c:pt idx="86">
                  <c:v>376.13429426112418</c:v>
                </c:pt>
                <c:pt idx="87">
                  <c:v>383.58019227726533</c:v>
                </c:pt>
                <c:pt idx="88">
                  <c:v>391.07391054109451</c:v>
                </c:pt>
                <c:pt idx="89">
                  <c:v>398.68039483805967</c:v>
                </c:pt>
                <c:pt idx="90">
                  <c:v>406.41531682480644</c:v>
                </c:pt>
                <c:pt idx="91">
                  <c:v>414.2780454522707</c:v>
                </c:pt>
                <c:pt idx="92">
                  <c:v>422.23751313980597</c:v>
                </c:pt>
                <c:pt idx="93">
                  <c:v>430.303480280104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84.19805926242952</c:v>
                </c:pt>
                <c:pt idx="71">
                  <c:v>287.9420139935965</c:v>
                </c:pt>
                <c:pt idx="72">
                  <c:v>292.61910858486243</c:v>
                </c:pt>
                <c:pt idx="73">
                  <c:v>298.20673467894903</c:v>
                </c:pt>
                <c:pt idx="74">
                  <c:v>304.590239870593</c:v>
                </c:pt>
                <c:pt idx="75">
                  <c:v>311.6515034827687</c:v>
                </c:pt>
                <c:pt idx="76">
                  <c:v>319.24454064082323</c:v>
                </c:pt>
                <c:pt idx="77">
                  <c:v>327.30391609856713</c:v>
                </c:pt>
                <c:pt idx="78">
                  <c:v>335.92587372365551</c:v>
                </c:pt>
                <c:pt idx="79">
                  <c:v>345.13829930059467</c:v>
                </c:pt>
                <c:pt idx="80">
                  <c:v>354.82303802522381</c:v>
                </c:pt>
                <c:pt idx="81">
                  <c:v>364.75518841383837</c:v>
                </c:pt>
                <c:pt idx="82">
                  <c:v>374.92297674377295</c:v>
                </c:pt>
                <c:pt idx="83">
                  <c:v>385.38654592338276</c:v>
                </c:pt>
                <c:pt idx="84">
                  <c:v>396.21956795102324</c:v>
                </c:pt>
                <c:pt idx="85">
                  <c:v>407.40558751064236</c:v>
                </c:pt>
                <c:pt idx="86">
                  <c:v>418.88560477911278</c:v>
                </c:pt>
                <c:pt idx="87">
                  <c:v>430.57014191466646</c:v>
                </c:pt>
                <c:pt idx="88">
                  <c:v>442.48044350260091</c:v>
                </c:pt>
                <c:pt idx="89">
                  <c:v>454.69282580661672</c:v>
                </c:pt>
                <c:pt idx="90">
                  <c:v>467.22947450975732</c:v>
                </c:pt>
                <c:pt idx="91">
                  <c:v>480.09175431363974</c:v>
                </c:pt>
                <c:pt idx="92">
                  <c:v>493.24744946138105</c:v>
                </c:pt>
                <c:pt idx="93">
                  <c:v>506.70743056827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  <c:pt idx="67">
                  <c:v>452</c:v>
                </c:pt>
                <c:pt idx="68">
                  <c:v>452</c:v>
                </c:pt>
                <c:pt idx="69">
                  <c:v>452</c:v>
                </c:pt>
                <c:pt idx="70">
                  <c:v>452</c:v>
                </c:pt>
                <c:pt idx="71">
                  <c:v>452</c:v>
                </c:pt>
                <c:pt idx="72">
                  <c:v>452</c:v>
                </c:pt>
                <c:pt idx="73">
                  <c:v>452</c:v>
                </c:pt>
                <c:pt idx="74">
                  <c:v>452</c:v>
                </c:pt>
                <c:pt idx="75">
                  <c:v>452</c:v>
                </c:pt>
                <c:pt idx="76">
                  <c:v>452</c:v>
                </c:pt>
                <c:pt idx="77">
                  <c:v>452</c:v>
                </c:pt>
                <c:pt idx="78">
                  <c:v>452</c:v>
                </c:pt>
                <c:pt idx="79">
                  <c:v>452</c:v>
                </c:pt>
                <c:pt idx="80">
                  <c:v>452</c:v>
                </c:pt>
                <c:pt idx="81">
                  <c:v>452</c:v>
                </c:pt>
                <c:pt idx="82">
                  <c:v>452</c:v>
                </c:pt>
                <c:pt idx="83">
                  <c:v>452</c:v>
                </c:pt>
                <c:pt idx="84">
                  <c:v>452</c:v>
                </c:pt>
                <c:pt idx="85">
                  <c:v>452</c:v>
                </c:pt>
                <c:pt idx="86">
                  <c:v>452</c:v>
                </c:pt>
                <c:pt idx="87">
                  <c:v>452</c:v>
                </c:pt>
                <c:pt idx="88">
                  <c:v>452</c:v>
                </c:pt>
                <c:pt idx="89">
                  <c:v>452</c:v>
                </c:pt>
                <c:pt idx="90">
                  <c:v>452</c:v>
                </c:pt>
                <c:pt idx="91">
                  <c:v>452</c:v>
                </c:pt>
                <c:pt idx="92">
                  <c:v>452</c:v>
                </c:pt>
                <c:pt idx="93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33</c:v>
                </c:pt>
                <c:pt idx="1">
                  <c:v>703</c:v>
                </c:pt>
                <c:pt idx="2">
                  <c:v>736</c:v>
                </c:pt>
                <c:pt idx="3">
                  <c:v>883</c:v>
                </c:pt>
                <c:pt idx="4">
                  <c:v>919</c:v>
                </c:pt>
                <c:pt idx="5">
                  <c:v>938</c:v>
                </c:pt>
                <c:pt idx="6">
                  <c:v>964</c:v>
                </c:pt>
                <c:pt idx="7">
                  <c:v>973</c:v>
                </c:pt>
                <c:pt idx="8">
                  <c:v>912</c:v>
                </c:pt>
                <c:pt idx="9">
                  <c:v>942</c:v>
                </c:pt>
                <c:pt idx="10">
                  <c:v>1022</c:v>
                </c:pt>
                <c:pt idx="11">
                  <c:v>990</c:v>
                </c:pt>
                <c:pt idx="12">
                  <c:v>969</c:v>
                </c:pt>
                <c:pt idx="13">
                  <c:v>969</c:v>
                </c:pt>
                <c:pt idx="14">
                  <c:v>918</c:v>
                </c:pt>
                <c:pt idx="15">
                  <c:v>834</c:v>
                </c:pt>
                <c:pt idx="16">
                  <c:v>841</c:v>
                </c:pt>
                <c:pt idx="17">
                  <c:v>907</c:v>
                </c:pt>
                <c:pt idx="18">
                  <c:v>864</c:v>
                </c:pt>
                <c:pt idx="19">
                  <c:v>850</c:v>
                </c:pt>
                <c:pt idx="20">
                  <c:v>821</c:v>
                </c:pt>
                <c:pt idx="21">
                  <c:v>826</c:v>
                </c:pt>
                <c:pt idx="22">
                  <c:v>760</c:v>
                </c:pt>
                <c:pt idx="23">
                  <c:v>749</c:v>
                </c:pt>
                <c:pt idx="24">
                  <c:v>811</c:v>
                </c:pt>
                <c:pt idx="25">
                  <c:v>782</c:v>
                </c:pt>
                <c:pt idx="26">
                  <c:v>734</c:v>
                </c:pt>
                <c:pt idx="27">
                  <c:v>703</c:v>
                </c:pt>
                <c:pt idx="28">
                  <c:v>677</c:v>
                </c:pt>
                <c:pt idx="29">
                  <c:v>628</c:v>
                </c:pt>
                <c:pt idx="30">
                  <c:v>625</c:v>
                </c:pt>
                <c:pt idx="31">
                  <c:v>681</c:v>
                </c:pt>
                <c:pt idx="32">
                  <c:v>656</c:v>
                </c:pt>
                <c:pt idx="33">
                  <c:v>642</c:v>
                </c:pt>
                <c:pt idx="34">
                  <c:v>647</c:v>
                </c:pt>
                <c:pt idx="35">
                  <c:v>642</c:v>
                </c:pt>
                <c:pt idx="36">
                  <c:v>577</c:v>
                </c:pt>
                <c:pt idx="37">
                  <c:v>604</c:v>
                </c:pt>
                <c:pt idx="38">
                  <c:v>644</c:v>
                </c:pt>
                <c:pt idx="39">
                  <c:v>628</c:v>
                </c:pt>
                <c:pt idx="40">
                  <c:v>609</c:v>
                </c:pt>
                <c:pt idx="41">
                  <c:v>604</c:v>
                </c:pt>
                <c:pt idx="42">
                  <c:v>598</c:v>
                </c:pt>
                <c:pt idx="43">
                  <c:v>555</c:v>
                </c:pt>
                <c:pt idx="44">
                  <c:v>566</c:v>
                </c:pt>
                <c:pt idx="45">
                  <c:v>614</c:v>
                </c:pt>
                <c:pt idx="46">
                  <c:v>619</c:v>
                </c:pt>
                <c:pt idx="47">
                  <c:v>650</c:v>
                </c:pt>
                <c:pt idx="48">
                  <c:v>664</c:v>
                </c:pt>
                <c:pt idx="49">
                  <c:v>691</c:v>
                </c:pt>
                <c:pt idx="50">
                  <c:v>657</c:v>
                </c:pt>
                <c:pt idx="51">
                  <c:v>671</c:v>
                </c:pt>
                <c:pt idx="52">
                  <c:v>761</c:v>
                </c:pt>
                <c:pt idx="53">
                  <c:v>784</c:v>
                </c:pt>
                <c:pt idx="54">
                  <c:v>807</c:v>
                </c:pt>
                <c:pt idx="55">
                  <c:v>845</c:v>
                </c:pt>
                <c:pt idx="56">
                  <c:v>883</c:v>
                </c:pt>
                <c:pt idx="57">
                  <c:v>838</c:v>
                </c:pt>
                <c:pt idx="58">
                  <c:v>855</c:v>
                </c:pt>
                <c:pt idx="59">
                  <c:v>983</c:v>
                </c:pt>
                <c:pt idx="60">
                  <c:v>972</c:v>
                </c:pt>
                <c:pt idx="61">
                  <c:v>969</c:v>
                </c:pt>
                <c:pt idx="62">
                  <c:v>991</c:v>
                </c:pt>
                <c:pt idx="63">
                  <c:v>1000</c:v>
                </c:pt>
                <c:pt idx="64">
                  <c:v>965</c:v>
                </c:pt>
                <c:pt idx="65">
                  <c:v>993</c:v>
                </c:pt>
                <c:pt idx="66">
                  <c:v>1106</c:v>
                </c:pt>
                <c:pt idx="67">
                  <c:v>1110</c:v>
                </c:pt>
                <c:pt idx="68">
                  <c:v>1131</c:v>
                </c:pt>
                <c:pt idx="69">
                  <c:v>1118</c:v>
                </c:pt>
                <c:pt idx="70">
                  <c:v>1138</c:v>
                </c:pt>
                <c:pt idx="71">
                  <c:v>1088</c:v>
                </c:pt>
                <c:pt idx="72">
                  <c:v>1112</c:v>
                </c:pt>
                <c:pt idx="73">
                  <c:v>1191</c:v>
                </c:pt>
                <c:pt idx="74">
                  <c:v>1169</c:v>
                </c:pt>
                <c:pt idx="75">
                  <c:v>1159</c:v>
                </c:pt>
                <c:pt idx="76">
                  <c:v>1121</c:v>
                </c:pt>
                <c:pt idx="77">
                  <c:v>1098</c:v>
                </c:pt>
                <c:pt idx="78">
                  <c:v>1024</c:v>
                </c:pt>
                <c:pt idx="79">
                  <c:v>1030</c:v>
                </c:pt>
                <c:pt idx="80">
                  <c:v>1129</c:v>
                </c:pt>
                <c:pt idx="81">
                  <c:v>1066</c:v>
                </c:pt>
                <c:pt idx="82">
                  <c:v>1016</c:v>
                </c:pt>
                <c:pt idx="83">
                  <c:v>1017</c:v>
                </c:pt>
                <c:pt idx="84">
                  <c:v>1001</c:v>
                </c:pt>
                <c:pt idx="85">
                  <c:v>932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093.2212042041067</c:v>
                </c:pt>
                <c:pt idx="71">
                  <c:v>1081.9174537246856</c:v>
                </c:pt>
                <c:pt idx="72">
                  <c:v>1068.9277727346546</c:v>
                </c:pt>
                <c:pt idx="73">
                  <c:v>1053.8887346708423</c:v>
                </c:pt>
                <c:pt idx="74">
                  <c:v>1036.2299232635557</c:v>
                </c:pt>
                <c:pt idx="75">
                  <c:v>1017.0494794149949</c:v>
                </c:pt>
                <c:pt idx="76">
                  <c:v>996.66812788616699</c:v>
                </c:pt>
                <c:pt idx="77">
                  <c:v>974.8182859543607</c:v>
                </c:pt>
                <c:pt idx="78">
                  <c:v>951.58736039780752</c:v>
                </c:pt>
                <c:pt idx="79">
                  <c:v>927.2823961794677</c:v>
                </c:pt>
                <c:pt idx="80">
                  <c:v>902.16004241353698</c:v>
                </c:pt>
                <c:pt idx="81">
                  <c:v>876.36922943294064</c:v>
                </c:pt>
                <c:pt idx="82">
                  <c:v>850.40248815410882</c:v>
                </c:pt>
                <c:pt idx="83">
                  <c:v>824.42479234857524</c:v>
                </c:pt>
                <c:pt idx="84">
                  <c:v>798.61889760055396</c:v>
                </c:pt>
                <c:pt idx="85">
                  <c:v>773.04400309137168</c:v>
                </c:pt>
                <c:pt idx="86">
                  <c:v>747.71242120781221</c:v>
                </c:pt>
                <c:pt idx="87">
                  <c:v>722.45968440443994</c:v>
                </c:pt>
                <c:pt idx="88">
                  <c:v>697.38050041946929</c:v>
                </c:pt>
                <c:pt idx="89">
                  <c:v>672.74728209259524</c:v>
                </c:pt>
                <c:pt idx="90">
                  <c:v>648.65972553041661</c:v>
                </c:pt>
                <c:pt idx="91">
                  <c:v>625.21005167091027</c:v>
                </c:pt>
                <c:pt idx="92">
                  <c:v>602.37182595563263</c:v>
                </c:pt>
                <c:pt idx="93">
                  <c:v>580.18973465716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098.846840235231</c:v>
                </c:pt>
                <c:pt idx="71">
                  <c:v>1095.0704116208497</c:v>
                </c:pt>
                <c:pt idx="72">
                  <c:v>1090.8319479270849</c:v>
                </c:pt>
                <c:pt idx="73">
                  <c:v>1085.7432888848593</c:v>
                </c:pt>
                <c:pt idx="74">
                  <c:v>1079.2186361663103</c:v>
                </c:pt>
                <c:pt idx="75">
                  <c:v>1071.9931160038916</c:v>
                </c:pt>
                <c:pt idx="76">
                  <c:v>1064.1227662476597</c:v>
                </c:pt>
                <c:pt idx="77">
                  <c:v>1055.2334143618712</c:v>
                </c:pt>
                <c:pt idx="78">
                  <c:v>1045.3565112550828</c:v>
                </c:pt>
                <c:pt idx="79">
                  <c:v>1034.7033602875324</c:v>
                </c:pt>
                <c:pt idx="80">
                  <c:v>1023.3298388027767</c:v>
                </c:pt>
                <c:pt idx="81">
                  <c:v>1011.1231650641462</c:v>
                </c:pt>
                <c:pt idx="82">
                  <c:v>998.4192628996442</c:v>
                </c:pt>
                <c:pt idx="83">
                  <c:v>985.35871186115764</c:v>
                </c:pt>
                <c:pt idx="84">
                  <c:v>972.09103217355107</c:v>
                </c:pt>
                <c:pt idx="85">
                  <c:v>958.62469492001821</c:v>
                </c:pt>
                <c:pt idx="86">
                  <c:v>944.93201256360612</c:v>
                </c:pt>
                <c:pt idx="87">
                  <c:v>930.8225279606537</c:v>
                </c:pt>
                <c:pt idx="88">
                  <c:v>916.37783517479033</c:v>
                </c:pt>
                <c:pt idx="89">
                  <c:v>901.85370147676178</c:v>
                </c:pt>
                <c:pt idx="90">
                  <c:v>887.33109313298917</c:v>
                </c:pt>
                <c:pt idx="91">
                  <c:v>872.87675145526816</c:v>
                </c:pt>
                <c:pt idx="92">
                  <c:v>858.45793320819269</c:v>
                </c:pt>
                <c:pt idx="93">
                  <c:v>844.127568384071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110.0981122974795</c:v>
                </c:pt>
                <c:pt idx="71">
                  <c:v>1121.7723645553172</c:v>
                </c:pt>
                <c:pt idx="72">
                  <c:v>1136.1358943229768</c:v>
                </c:pt>
                <c:pt idx="73">
                  <c:v>1152.9676825645333</c:v>
                </c:pt>
                <c:pt idx="74">
                  <c:v>1171.7452802074467</c:v>
                </c:pt>
                <c:pt idx="75">
                  <c:v>1192.3100123662955</c:v>
                </c:pt>
                <c:pt idx="76">
                  <c:v>1214.2216467163721</c:v>
                </c:pt>
                <c:pt idx="77">
                  <c:v>1237.1359444079708</c:v>
                </c:pt>
                <c:pt idx="78">
                  <c:v>1261.2913256063109</c:v>
                </c:pt>
                <c:pt idx="79">
                  <c:v>1286.8006801664746</c:v>
                </c:pt>
                <c:pt idx="80">
                  <c:v>1313.2987011978412</c:v>
                </c:pt>
                <c:pt idx="81">
                  <c:v>1340.05827790683</c:v>
                </c:pt>
                <c:pt idx="82">
                  <c:v>1367.1139708561313</c:v>
                </c:pt>
                <c:pt idx="83">
                  <c:v>1394.6543875484756</c:v>
                </c:pt>
                <c:pt idx="84">
                  <c:v>1422.8903621497034</c:v>
                </c:pt>
                <c:pt idx="85">
                  <c:v>1451.7554222893139</c:v>
                </c:pt>
                <c:pt idx="86">
                  <c:v>1481.0598743869225</c:v>
                </c:pt>
                <c:pt idx="87">
                  <c:v>1510.4928254129525</c:v>
                </c:pt>
                <c:pt idx="88">
                  <c:v>1540.1006217367346</c:v>
                </c:pt>
                <c:pt idx="89">
                  <c:v>1570.1406373009349</c:v>
                </c:pt>
                <c:pt idx="90">
                  <c:v>1600.6789149868462</c:v>
                </c:pt>
                <c:pt idx="91">
                  <c:v>1631.7124725836695</c:v>
                </c:pt>
                <c:pt idx="92">
                  <c:v>1663.1184900065359</c:v>
                </c:pt>
                <c:pt idx="93">
                  <c:v>1694.9358084199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112.9085445471248</c:v>
                </c:pt>
                <c:pt idx="71">
                  <c:v>1128.5273033504104</c:v>
                </c:pt>
                <c:pt idx="72">
                  <c:v>1147.7723007422774</c:v>
                </c:pt>
                <c:pt idx="73">
                  <c:v>1170.4995960600022</c:v>
                </c:pt>
                <c:pt idx="74">
                  <c:v>1196.2321744935855</c:v>
                </c:pt>
                <c:pt idx="75">
                  <c:v>1224.5596347048729</c:v>
                </c:pt>
                <c:pt idx="76">
                  <c:v>1254.936094161759</c:v>
                </c:pt>
                <c:pt idx="77">
                  <c:v>1287.0808816924209</c:v>
                </c:pt>
                <c:pt idx="78">
                  <c:v>1321.3849883873768</c:v>
                </c:pt>
                <c:pt idx="79">
                  <c:v>1357.9652974516021</c:v>
                </c:pt>
                <c:pt idx="80">
                  <c:v>1396.3482989839254</c:v>
                </c:pt>
                <c:pt idx="81">
                  <c:v>1435.6516000395109</c:v>
                </c:pt>
                <c:pt idx="82">
                  <c:v>1475.8596044479004</c:v>
                </c:pt>
                <c:pt idx="83">
                  <c:v>1517.2241049336365</c:v>
                </c:pt>
                <c:pt idx="84">
                  <c:v>1560.0283261479233</c:v>
                </c:pt>
                <c:pt idx="85">
                  <c:v>1604.2031117445592</c:v>
                </c:pt>
                <c:pt idx="86">
                  <c:v>1649.5293431730504</c:v>
                </c:pt>
                <c:pt idx="87">
                  <c:v>1695.6654169699852</c:v>
                </c:pt>
                <c:pt idx="88">
                  <c:v>1742.678309674204</c:v>
                </c:pt>
                <c:pt idx="89">
                  <c:v>1790.8704928006425</c:v>
                </c:pt>
                <c:pt idx="90">
                  <c:v>1840.3334179005697</c:v>
                </c:pt>
                <c:pt idx="91">
                  <c:v>1891.0717174504305</c:v>
                </c:pt>
                <c:pt idx="92">
                  <c:v>1942.9575135955165</c:v>
                </c:pt>
                <c:pt idx="93">
                  <c:v>1996.0339207158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  <c:pt idx="61">
                  <c:v>1189</c:v>
                </c:pt>
                <c:pt idx="62">
                  <c:v>1189</c:v>
                </c:pt>
                <c:pt idx="63">
                  <c:v>1189</c:v>
                </c:pt>
                <c:pt idx="64">
                  <c:v>1189</c:v>
                </c:pt>
                <c:pt idx="65">
                  <c:v>1189</c:v>
                </c:pt>
                <c:pt idx="66">
                  <c:v>1189</c:v>
                </c:pt>
                <c:pt idx="67">
                  <c:v>1189</c:v>
                </c:pt>
                <c:pt idx="68">
                  <c:v>1189</c:v>
                </c:pt>
                <c:pt idx="69">
                  <c:v>1189</c:v>
                </c:pt>
                <c:pt idx="70">
                  <c:v>1189</c:v>
                </c:pt>
                <c:pt idx="71">
                  <c:v>1189</c:v>
                </c:pt>
                <c:pt idx="72">
                  <c:v>1189</c:v>
                </c:pt>
                <c:pt idx="73">
                  <c:v>1189</c:v>
                </c:pt>
                <c:pt idx="74">
                  <c:v>1189</c:v>
                </c:pt>
                <c:pt idx="75">
                  <c:v>1189</c:v>
                </c:pt>
                <c:pt idx="76">
                  <c:v>1189</c:v>
                </c:pt>
                <c:pt idx="77">
                  <c:v>1189</c:v>
                </c:pt>
                <c:pt idx="78">
                  <c:v>1189</c:v>
                </c:pt>
                <c:pt idx="79">
                  <c:v>1189</c:v>
                </c:pt>
                <c:pt idx="80">
                  <c:v>1189</c:v>
                </c:pt>
                <c:pt idx="81">
                  <c:v>1189</c:v>
                </c:pt>
                <c:pt idx="82">
                  <c:v>1189</c:v>
                </c:pt>
                <c:pt idx="83">
                  <c:v>1189</c:v>
                </c:pt>
                <c:pt idx="84">
                  <c:v>1189</c:v>
                </c:pt>
                <c:pt idx="85">
                  <c:v>1189</c:v>
                </c:pt>
                <c:pt idx="86">
                  <c:v>1189</c:v>
                </c:pt>
                <c:pt idx="87">
                  <c:v>1189</c:v>
                </c:pt>
                <c:pt idx="88">
                  <c:v>1189</c:v>
                </c:pt>
                <c:pt idx="89">
                  <c:v>1189</c:v>
                </c:pt>
                <c:pt idx="90">
                  <c:v>1189</c:v>
                </c:pt>
                <c:pt idx="91">
                  <c:v>1189</c:v>
                </c:pt>
                <c:pt idx="92">
                  <c:v>1189</c:v>
                </c:pt>
                <c:pt idx="93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5</c:v>
                </c:pt>
                <c:pt idx="1">
                  <c:v>402</c:v>
                </c:pt>
                <c:pt idx="2">
                  <c:v>409</c:v>
                </c:pt>
                <c:pt idx="3">
                  <c:v>458</c:v>
                </c:pt>
                <c:pt idx="4">
                  <c:v>479</c:v>
                </c:pt>
                <c:pt idx="5">
                  <c:v>459</c:v>
                </c:pt>
                <c:pt idx="6">
                  <c:v>468</c:v>
                </c:pt>
                <c:pt idx="7">
                  <c:v>467</c:v>
                </c:pt>
                <c:pt idx="8">
                  <c:v>433</c:v>
                </c:pt>
                <c:pt idx="9">
                  <c:v>442</c:v>
                </c:pt>
                <c:pt idx="10">
                  <c:v>484</c:v>
                </c:pt>
                <c:pt idx="11">
                  <c:v>489</c:v>
                </c:pt>
                <c:pt idx="12">
                  <c:v>482</c:v>
                </c:pt>
                <c:pt idx="13">
                  <c:v>468</c:v>
                </c:pt>
                <c:pt idx="14">
                  <c:v>469</c:v>
                </c:pt>
                <c:pt idx="15">
                  <c:v>413</c:v>
                </c:pt>
                <c:pt idx="16">
                  <c:v>417</c:v>
                </c:pt>
                <c:pt idx="17">
                  <c:v>426</c:v>
                </c:pt>
                <c:pt idx="18">
                  <c:v>397</c:v>
                </c:pt>
                <c:pt idx="19">
                  <c:v>401</c:v>
                </c:pt>
                <c:pt idx="20">
                  <c:v>404</c:v>
                </c:pt>
                <c:pt idx="21">
                  <c:v>408</c:v>
                </c:pt>
                <c:pt idx="22">
                  <c:v>341</c:v>
                </c:pt>
                <c:pt idx="23">
                  <c:v>339</c:v>
                </c:pt>
                <c:pt idx="24">
                  <c:v>348</c:v>
                </c:pt>
                <c:pt idx="25">
                  <c:v>335</c:v>
                </c:pt>
                <c:pt idx="26">
                  <c:v>330</c:v>
                </c:pt>
                <c:pt idx="27">
                  <c:v>335</c:v>
                </c:pt>
                <c:pt idx="28">
                  <c:v>313</c:v>
                </c:pt>
                <c:pt idx="29">
                  <c:v>286</c:v>
                </c:pt>
                <c:pt idx="30">
                  <c:v>281</c:v>
                </c:pt>
                <c:pt idx="31">
                  <c:v>297</c:v>
                </c:pt>
                <c:pt idx="32">
                  <c:v>308</c:v>
                </c:pt>
                <c:pt idx="33">
                  <c:v>305</c:v>
                </c:pt>
                <c:pt idx="34">
                  <c:v>290</c:v>
                </c:pt>
                <c:pt idx="35">
                  <c:v>276</c:v>
                </c:pt>
                <c:pt idx="36">
                  <c:v>265</c:v>
                </c:pt>
                <c:pt idx="37">
                  <c:v>261</c:v>
                </c:pt>
                <c:pt idx="38">
                  <c:v>289</c:v>
                </c:pt>
                <c:pt idx="39">
                  <c:v>295</c:v>
                </c:pt>
                <c:pt idx="40">
                  <c:v>293</c:v>
                </c:pt>
                <c:pt idx="41">
                  <c:v>291</c:v>
                </c:pt>
                <c:pt idx="42">
                  <c:v>287</c:v>
                </c:pt>
                <c:pt idx="43">
                  <c:v>256</c:v>
                </c:pt>
                <c:pt idx="44">
                  <c:v>250</c:v>
                </c:pt>
                <c:pt idx="45">
                  <c:v>270</c:v>
                </c:pt>
                <c:pt idx="46">
                  <c:v>268</c:v>
                </c:pt>
                <c:pt idx="47">
                  <c:v>264</c:v>
                </c:pt>
                <c:pt idx="48">
                  <c:v>271</c:v>
                </c:pt>
                <c:pt idx="49">
                  <c:v>289</c:v>
                </c:pt>
                <c:pt idx="50">
                  <c:v>258</c:v>
                </c:pt>
                <c:pt idx="51">
                  <c:v>262</c:v>
                </c:pt>
                <c:pt idx="52">
                  <c:v>300</c:v>
                </c:pt>
                <c:pt idx="53">
                  <c:v>296</c:v>
                </c:pt>
                <c:pt idx="54">
                  <c:v>318</c:v>
                </c:pt>
                <c:pt idx="55">
                  <c:v>323</c:v>
                </c:pt>
                <c:pt idx="56">
                  <c:v>317</c:v>
                </c:pt>
                <c:pt idx="57">
                  <c:v>289</c:v>
                </c:pt>
                <c:pt idx="58">
                  <c:v>305</c:v>
                </c:pt>
                <c:pt idx="59">
                  <c:v>341</c:v>
                </c:pt>
                <c:pt idx="60">
                  <c:v>354</c:v>
                </c:pt>
                <c:pt idx="61">
                  <c:v>373</c:v>
                </c:pt>
                <c:pt idx="62">
                  <c:v>375</c:v>
                </c:pt>
                <c:pt idx="63">
                  <c:v>385</c:v>
                </c:pt>
                <c:pt idx="64">
                  <c:v>372</c:v>
                </c:pt>
                <c:pt idx="65">
                  <c:v>401</c:v>
                </c:pt>
                <c:pt idx="66">
                  <c:v>444</c:v>
                </c:pt>
                <c:pt idx="67">
                  <c:v>444</c:v>
                </c:pt>
                <c:pt idx="68">
                  <c:v>455</c:v>
                </c:pt>
                <c:pt idx="69">
                  <c:v>462</c:v>
                </c:pt>
                <c:pt idx="70">
                  <c:v>463</c:v>
                </c:pt>
                <c:pt idx="71">
                  <c:v>432</c:v>
                </c:pt>
                <c:pt idx="72">
                  <c:v>465</c:v>
                </c:pt>
                <c:pt idx="73">
                  <c:v>502</c:v>
                </c:pt>
                <c:pt idx="74">
                  <c:v>494</c:v>
                </c:pt>
                <c:pt idx="75">
                  <c:v>495</c:v>
                </c:pt>
                <c:pt idx="76">
                  <c:v>501</c:v>
                </c:pt>
                <c:pt idx="77">
                  <c:v>505</c:v>
                </c:pt>
                <c:pt idx="78">
                  <c:v>466</c:v>
                </c:pt>
                <c:pt idx="79">
                  <c:v>492</c:v>
                </c:pt>
                <c:pt idx="80">
                  <c:v>517</c:v>
                </c:pt>
                <c:pt idx="81">
                  <c:v>487</c:v>
                </c:pt>
                <c:pt idx="82">
                  <c:v>458</c:v>
                </c:pt>
                <c:pt idx="83">
                  <c:v>424</c:v>
                </c:pt>
                <c:pt idx="84">
                  <c:v>412</c:v>
                </c:pt>
                <c:pt idx="85">
                  <c:v>398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26.43103341711299</c:v>
                </c:pt>
                <c:pt idx="71">
                  <c:v>421.78762033802604</c:v>
                </c:pt>
                <c:pt idx="72">
                  <c:v>416.50703040145004</c:v>
                </c:pt>
                <c:pt idx="73">
                  <c:v>410.46210739748437</c:v>
                </c:pt>
                <c:pt idx="74">
                  <c:v>403.43902949386541</c:v>
                </c:pt>
                <c:pt idx="75">
                  <c:v>395.84408776517728</c:v>
                </c:pt>
                <c:pt idx="76">
                  <c:v>387.79209334146634</c:v>
                </c:pt>
                <c:pt idx="77">
                  <c:v>379.18348261324479</c:v>
                </c:pt>
                <c:pt idx="78">
                  <c:v>370.05239431208867</c:v>
                </c:pt>
                <c:pt idx="79">
                  <c:v>360.51957079677601</c:v>
                </c:pt>
                <c:pt idx="80">
                  <c:v>350.6884020035202</c:v>
                </c:pt>
                <c:pt idx="81">
                  <c:v>340.61728983921785</c:v>
                </c:pt>
                <c:pt idx="82">
                  <c:v>330.48765694287772</c:v>
                </c:pt>
                <c:pt idx="83">
                  <c:v>320.35877203191893</c:v>
                </c:pt>
                <c:pt idx="84">
                  <c:v>310.30403706107506</c:v>
                </c:pt>
                <c:pt idx="85">
                  <c:v>300.34647170193199</c:v>
                </c:pt>
                <c:pt idx="86">
                  <c:v>290.48734332701065</c:v>
                </c:pt>
                <c:pt idx="87">
                  <c:v>280.65989266224148</c:v>
                </c:pt>
                <c:pt idx="88">
                  <c:v>270.90558504703512</c:v>
                </c:pt>
                <c:pt idx="89">
                  <c:v>261.3300143527203</c:v>
                </c:pt>
                <c:pt idx="90">
                  <c:v>251.96992642800888</c:v>
                </c:pt>
                <c:pt idx="91">
                  <c:v>242.86080422734523</c:v>
                </c:pt>
                <c:pt idx="92">
                  <c:v>233.99153509714975</c:v>
                </c:pt>
                <c:pt idx="93">
                  <c:v>225.3791712884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28.61105511531332</c:v>
                </c:pt>
                <c:pt idx="71">
                  <c:v>426.88467911746642</c:v>
                </c:pt>
                <c:pt idx="72">
                  <c:v>424.99590031922696</c:v>
                </c:pt>
                <c:pt idx="73">
                  <c:v>422.80894253904637</c:v>
                </c:pt>
                <c:pt idx="74">
                  <c:v>420.10409373602096</c:v>
                </c:pt>
                <c:pt idx="75">
                  <c:v>417.14741462400195</c:v>
                </c:pt>
                <c:pt idx="76">
                  <c:v>413.9510573944433</c:v>
                </c:pt>
                <c:pt idx="77">
                  <c:v>410.37489979767975</c:v>
                </c:pt>
                <c:pt idx="78">
                  <c:v>406.43025150095184</c:v>
                </c:pt>
                <c:pt idx="79">
                  <c:v>402.19958053964172</c:v>
                </c:pt>
                <c:pt idx="80">
                  <c:v>397.70795399242945</c:v>
                </c:pt>
                <c:pt idx="81">
                  <c:v>392.91166361435342</c:v>
                </c:pt>
                <c:pt idx="82">
                  <c:v>387.93140939376667</c:v>
                </c:pt>
                <c:pt idx="83">
                  <c:v>382.81706757848713</c:v>
                </c:pt>
                <c:pt idx="84">
                  <c:v>377.62909288930109</c:v>
                </c:pt>
                <c:pt idx="85">
                  <c:v>372.37118340630991</c:v>
                </c:pt>
                <c:pt idx="86">
                  <c:v>367.02886931196474</c:v>
                </c:pt>
                <c:pt idx="87">
                  <c:v>361.5251684536301</c:v>
                </c:pt>
                <c:pt idx="88">
                  <c:v>355.89665455345181</c:v>
                </c:pt>
                <c:pt idx="89">
                  <c:v>350.24238666700808</c:v>
                </c:pt>
                <c:pt idx="90">
                  <c:v>344.59206695206808</c:v>
                </c:pt>
                <c:pt idx="91">
                  <c:v>338.97144595209295</c:v>
                </c:pt>
                <c:pt idx="92">
                  <c:v>333.36727830747395</c:v>
                </c:pt>
                <c:pt idx="93">
                  <c:v>327.7998761703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32.97109851171376</c:v>
                </c:pt>
                <c:pt idx="71">
                  <c:v>437.23226724543167</c:v>
                </c:pt>
                <c:pt idx="72">
                  <c:v>442.55321273939387</c:v>
                </c:pt>
                <c:pt idx="73">
                  <c:v>448.86489552353987</c:v>
                </c:pt>
                <c:pt idx="74">
                  <c:v>455.97241267899614</c:v>
                </c:pt>
                <c:pt idx="75">
                  <c:v>463.79650839930088</c:v>
                </c:pt>
                <c:pt idx="76">
                  <c:v>472.15704122993941</c:v>
                </c:pt>
                <c:pt idx="77">
                  <c:v>480.9271567271644</c:v>
                </c:pt>
                <c:pt idx="78">
                  <c:v>490.19626408110122</c:v>
                </c:pt>
                <c:pt idx="79">
                  <c:v>500.00649416456667</c:v>
                </c:pt>
                <c:pt idx="80">
                  <c:v>510.21872968564628</c:v>
                </c:pt>
                <c:pt idx="81">
                  <c:v>520.54984178093309</c:v>
                </c:pt>
                <c:pt idx="82">
                  <c:v>531.00360269989096</c:v>
                </c:pt>
                <c:pt idx="83">
                  <c:v>541.64857634332941</c:v>
                </c:pt>
                <c:pt idx="84">
                  <c:v>552.5688513652899</c:v>
                </c:pt>
                <c:pt idx="85">
                  <c:v>563.7397838667282</c:v>
                </c:pt>
                <c:pt idx="86">
                  <c:v>575.08365600449156</c:v>
                </c:pt>
                <c:pt idx="87">
                  <c:v>586.47645411901112</c:v>
                </c:pt>
                <c:pt idx="88">
                  <c:v>597.94136084823276</c:v>
                </c:pt>
                <c:pt idx="89">
                  <c:v>609.57779677242888</c:v>
                </c:pt>
                <c:pt idx="90">
                  <c:v>621.41004672777194</c:v>
                </c:pt>
                <c:pt idx="91">
                  <c:v>633.43710870889595</c:v>
                </c:pt>
                <c:pt idx="92">
                  <c:v>645.61144596578151</c:v>
                </c:pt>
                <c:pt idx="93">
                  <c:v>657.94801202585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34.06018483931337</c:v>
                </c:pt>
                <c:pt idx="71">
                  <c:v>439.84995257411583</c:v>
                </c:pt>
                <c:pt idx="72">
                  <c:v>447.06283433237661</c:v>
                </c:pt>
                <c:pt idx="73">
                  <c:v>455.66015904088601</c:v>
                </c:pt>
                <c:pt idx="74">
                  <c:v>465.46472060943211</c:v>
                </c:pt>
                <c:pt idx="75">
                  <c:v>476.30000934628367</c:v>
                </c:pt>
                <c:pt idx="76">
                  <c:v>487.94498760740737</c:v>
                </c:pt>
                <c:pt idx="77">
                  <c:v>500.2978893343319</c:v>
                </c:pt>
                <c:pt idx="78">
                  <c:v>513.50676338641324</c:v>
                </c:pt>
                <c:pt idx="79">
                  <c:v>527.61477440924853</c:v>
                </c:pt>
                <c:pt idx="80">
                  <c:v>542.44065402799879</c:v>
                </c:pt>
                <c:pt idx="81">
                  <c:v>557.64078053672279</c:v>
                </c:pt>
                <c:pt idx="82">
                  <c:v>573.19945191575425</c:v>
                </c:pt>
                <c:pt idx="83">
                  <c:v>589.20974175705578</c:v>
                </c:pt>
                <c:pt idx="84">
                  <c:v>605.78377645149294</c:v>
                </c:pt>
                <c:pt idx="85">
                  <c:v>622.89607092786696</c:v>
                </c:pt>
                <c:pt idx="86">
                  <c:v>640.45740487407784</c:v>
                </c:pt>
                <c:pt idx="87">
                  <c:v>658.33177417955687</c:v>
                </c:pt>
                <c:pt idx="88">
                  <c:v>676.55041406672444</c:v>
                </c:pt>
                <c:pt idx="89">
                  <c:v>695.23015411831693</c:v>
                </c:pt>
                <c:pt idx="90">
                  <c:v>714.40522067190977</c:v>
                </c:pt>
                <c:pt idx="91">
                  <c:v>734.07764487181146</c:v>
                </c:pt>
                <c:pt idx="92">
                  <c:v>754.19809437123297</c:v>
                </c:pt>
                <c:pt idx="93">
                  <c:v>774.78321279968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  <c:pt idx="67">
                  <c:v>565</c:v>
                </c:pt>
                <c:pt idx="68">
                  <c:v>565</c:v>
                </c:pt>
                <c:pt idx="69">
                  <c:v>565</c:v>
                </c:pt>
                <c:pt idx="70">
                  <c:v>565</c:v>
                </c:pt>
                <c:pt idx="71">
                  <c:v>565</c:v>
                </c:pt>
                <c:pt idx="72">
                  <c:v>565</c:v>
                </c:pt>
                <c:pt idx="73">
                  <c:v>565</c:v>
                </c:pt>
                <c:pt idx="74">
                  <c:v>565</c:v>
                </c:pt>
                <c:pt idx="75">
                  <c:v>565</c:v>
                </c:pt>
                <c:pt idx="76">
                  <c:v>565</c:v>
                </c:pt>
                <c:pt idx="77">
                  <c:v>565</c:v>
                </c:pt>
                <c:pt idx="78">
                  <c:v>565</c:v>
                </c:pt>
                <c:pt idx="79">
                  <c:v>565</c:v>
                </c:pt>
                <c:pt idx="80">
                  <c:v>565</c:v>
                </c:pt>
                <c:pt idx="81">
                  <c:v>565</c:v>
                </c:pt>
                <c:pt idx="82">
                  <c:v>565</c:v>
                </c:pt>
                <c:pt idx="83">
                  <c:v>565</c:v>
                </c:pt>
                <c:pt idx="84">
                  <c:v>565</c:v>
                </c:pt>
                <c:pt idx="85">
                  <c:v>565</c:v>
                </c:pt>
                <c:pt idx="86">
                  <c:v>565</c:v>
                </c:pt>
                <c:pt idx="87">
                  <c:v>565</c:v>
                </c:pt>
                <c:pt idx="88">
                  <c:v>565</c:v>
                </c:pt>
                <c:pt idx="89">
                  <c:v>565</c:v>
                </c:pt>
                <c:pt idx="90">
                  <c:v>565</c:v>
                </c:pt>
                <c:pt idx="91">
                  <c:v>565</c:v>
                </c:pt>
                <c:pt idx="92">
                  <c:v>565</c:v>
                </c:pt>
                <c:pt idx="93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52</c:v>
                </c:pt>
                <c:pt idx="1">
                  <c:v>475</c:v>
                </c:pt>
                <c:pt idx="2">
                  <c:v>500</c:v>
                </c:pt>
                <c:pt idx="3">
                  <c:v>531</c:v>
                </c:pt>
                <c:pt idx="4">
                  <c:v>514</c:v>
                </c:pt>
                <c:pt idx="5">
                  <c:v>480</c:v>
                </c:pt>
                <c:pt idx="6">
                  <c:v>496</c:v>
                </c:pt>
                <c:pt idx="7">
                  <c:v>508</c:v>
                </c:pt>
                <c:pt idx="8">
                  <c:v>497</c:v>
                </c:pt>
                <c:pt idx="9">
                  <c:v>499</c:v>
                </c:pt>
                <c:pt idx="10">
                  <c:v>526</c:v>
                </c:pt>
                <c:pt idx="11">
                  <c:v>491</c:v>
                </c:pt>
                <c:pt idx="12">
                  <c:v>480</c:v>
                </c:pt>
                <c:pt idx="13">
                  <c:v>463</c:v>
                </c:pt>
                <c:pt idx="14">
                  <c:v>459</c:v>
                </c:pt>
                <c:pt idx="15">
                  <c:v>409</c:v>
                </c:pt>
                <c:pt idx="16">
                  <c:v>407</c:v>
                </c:pt>
                <c:pt idx="17">
                  <c:v>425</c:v>
                </c:pt>
                <c:pt idx="18">
                  <c:v>393</c:v>
                </c:pt>
                <c:pt idx="19">
                  <c:v>370</c:v>
                </c:pt>
                <c:pt idx="20">
                  <c:v>372</c:v>
                </c:pt>
                <c:pt idx="21">
                  <c:v>359</c:v>
                </c:pt>
                <c:pt idx="22">
                  <c:v>343</c:v>
                </c:pt>
                <c:pt idx="23">
                  <c:v>350</c:v>
                </c:pt>
                <c:pt idx="24">
                  <c:v>355</c:v>
                </c:pt>
                <c:pt idx="25">
                  <c:v>347</c:v>
                </c:pt>
                <c:pt idx="26">
                  <c:v>330</c:v>
                </c:pt>
                <c:pt idx="27">
                  <c:v>323</c:v>
                </c:pt>
                <c:pt idx="28">
                  <c:v>300</c:v>
                </c:pt>
                <c:pt idx="29">
                  <c:v>278</c:v>
                </c:pt>
                <c:pt idx="30">
                  <c:v>270</c:v>
                </c:pt>
                <c:pt idx="31">
                  <c:v>285</c:v>
                </c:pt>
                <c:pt idx="32">
                  <c:v>280</c:v>
                </c:pt>
                <c:pt idx="33">
                  <c:v>276</c:v>
                </c:pt>
                <c:pt idx="34">
                  <c:v>261</c:v>
                </c:pt>
                <c:pt idx="35">
                  <c:v>255</c:v>
                </c:pt>
                <c:pt idx="36">
                  <c:v>241</c:v>
                </c:pt>
                <c:pt idx="37">
                  <c:v>257</c:v>
                </c:pt>
                <c:pt idx="38">
                  <c:v>262</c:v>
                </c:pt>
                <c:pt idx="39">
                  <c:v>249</c:v>
                </c:pt>
                <c:pt idx="40">
                  <c:v>254</c:v>
                </c:pt>
                <c:pt idx="41">
                  <c:v>244</c:v>
                </c:pt>
                <c:pt idx="42">
                  <c:v>228</c:v>
                </c:pt>
                <c:pt idx="43">
                  <c:v>216</c:v>
                </c:pt>
                <c:pt idx="44">
                  <c:v>229</c:v>
                </c:pt>
                <c:pt idx="45">
                  <c:v>246</c:v>
                </c:pt>
                <c:pt idx="46">
                  <c:v>236</c:v>
                </c:pt>
                <c:pt idx="47">
                  <c:v>246</c:v>
                </c:pt>
                <c:pt idx="48">
                  <c:v>242</c:v>
                </c:pt>
                <c:pt idx="49">
                  <c:v>232</c:v>
                </c:pt>
                <c:pt idx="50">
                  <c:v>224</c:v>
                </c:pt>
                <c:pt idx="51">
                  <c:v>227</c:v>
                </c:pt>
                <c:pt idx="52">
                  <c:v>245</c:v>
                </c:pt>
                <c:pt idx="53">
                  <c:v>262</c:v>
                </c:pt>
                <c:pt idx="54">
                  <c:v>266</c:v>
                </c:pt>
                <c:pt idx="55">
                  <c:v>266</c:v>
                </c:pt>
                <c:pt idx="56">
                  <c:v>262</c:v>
                </c:pt>
                <c:pt idx="57">
                  <c:v>278</c:v>
                </c:pt>
                <c:pt idx="58">
                  <c:v>287</c:v>
                </c:pt>
                <c:pt idx="59">
                  <c:v>313</c:v>
                </c:pt>
                <c:pt idx="60">
                  <c:v>319</c:v>
                </c:pt>
                <c:pt idx="61">
                  <c:v>322</c:v>
                </c:pt>
                <c:pt idx="62">
                  <c:v>332</c:v>
                </c:pt>
                <c:pt idx="63">
                  <c:v>342</c:v>
                </c:pt>
                <c:pt idx="64">
                  <c:v>331</c:v>
                </c:pt>
                <c:pt idx="65">
                  <c:v>336</c:v>
                </c:pt>
                <c:pt idx="66">
                  <c:v>350</c:v>
                </c:pt>
                <c:pt idx="67">
                  <c:v>347</c:v>
                </c:pt>
                <c:pt idx="68">
                  <c:v>342</c:v>
                </c:pt>
                <c:pt idx="69">
                  <c:v>345</c:v>
                </c:pt>
                <c:pt idx="70">
                  <c:v>347</c:v>
                </c:pt>
                <c:pt idx="71">
                  <c:v>326</c:v>
                </c:pt>
                <c:pt idx="72">
                  <c:v>338</c:v>
                </c:pt>
                <c:pt idx="73">
                  <c:v>365</c:v>
                </c:pt>
                <c:pt idx="74">
                  <c:v>359</c:v>
                </c:pt>
                <c:pt idx="75">
                  <c:v>360</c:v>
                </c:pt>
                <c:pt idx="76">
                  <c:v>364</c:v>
                </c:pt>
                <c:pt idx="77">
                  <c:v>370</c:v>
                </c:pt>
                <c:pt idx="78">
                  <c:v>349</c:v>
                </c:pt>
                <c:pt idx="79">
                  <c:v>357</c:v>
                </c:pt>
                <c:pt idx="80">
                  <c:v>391</c:v>
                </c:pt>
                <c:pt idx="81">
                  <c:v>379</c:v>
                </c:pt>
                <c:pt idx="82">
                  <c:v>390</c:v>
                </c:pt>
                <c:pt idx="83">
                  <c:v>369</c:v>
                </c:pt>
                <c:pt idx="84">
                  <c:v>366</c:v>
                </c:pt>
                <c:pt idx="85">
                  <c:v>349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43.23724411045157</c:v>
                </c:pt>
                <c:pt idx="71">
                  <c:v>339.56322903093201</c:v>
                </c:pt>
                <c:pt idx="72">
                  <c:v>335.37080035357474</c:v>
                </c:pt>
                <c:pt idx="73">
                  <c:v>330.55364887243582</c:v>
                </c:pt>
                <c:pt idx="74">
                  <c:v>324.93731439056205</c:v>
                </c:pt>
                <c:pt idx="75">
                  <c:v>318.85480489456239</c:v>
                </c:pt>
                <c:pt idx="76">
                  <c:v>312.40132382946047</c:v>
                </c:pt>
                <c:pt idx="77">
                  <c:v>305.49542695433649</c:v>
                </c:pt>
                <c:pt idx="78">
                  <c:v>298.1645808057973</c:v>
                </c:pt>
                <c:pt idx="79">
                  <c:v>290.50570766780584</c:v>
                </c:pt>
                <c:pt idx="80">
                  <c:v>282.6011376054571</c:v>
                </c:pt>
                <c:pt idx="81">
                  <c:v>274.4977949520902</c:v>
                </c:pt>
                <c:pt idx="82">
                  <c:v>266.34460893300741</c:v>
                </c:pt>
                <c:pt idx="83">
                  <c:v>258.1906634734986</c:v>
                </c:pt>
                <c:pt idx="84">
                  <c:v>250.09446686174277</c:v>
                </c:pt>
                <c:pt idx="85">
                  <c:v>242.07456732745993</c:v>
                </c:pt>
                <c:pt idx="86">
                  <c:v>234.13294362271364</c:v>
                </c:pt>
                <c:pt idx="87">
                  <c:v>226.21656731253975</c:v>
                </c:pt>
                <c:pt idx="88">
                  <c:v>218.35758771244957</c:v>
                </c:pt>
                <c:pt idx="89">
                  <c:v>210.64117857863255</c:v>
                </c:pt>
                <c:pt idx="90">
                  <c:v>203.09749784402965</c:v>
                </c:pt>
                <c:pt idx="91">
                  <c:v>195.75523871863135</c:v>
                </c:pt>
                <c:pt idx="92">
                  <c:v>188.60567385153286</c:v>
                </c:pt>
                <c:pt idx="93">
                  <c:v>181.662631336968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44.99585259241798</c:v>
                </c:pt>
                <c:pt idx="71">
                  <c:v>343.6749687174219</c:v>
                </c:pt>
                <c:pt idx="72">
                  <c:v>342.21853296231336</c:v>
                </c:pt>
                <c:pt idx="73">
                  <c:v>340.51301913038122</c:v>
                </c:pt>
                <c:pt idx="74">
                  <c:v>338.37919616966451</c:v>
                </c:pt>
                <c:pt idx="75">
                  <c:v>336.03682815298714</c:v>
                </c:pt>
                <c:pt idx="76">
                  <c:v>333.49832845902836</c:v>
                </c:pt>
                <c:pt idx="77">
                  <c:v>330.64933069582594</c:v>
                </c:pt>
                <c:pt idx="78">
                  <c:v>327.49919795540097</c:v>
                </c:pt>
                <c:pt idx="79">
                  <c:v>324.1142970447105</c:v>
                </c:pt>
                <c:pt idx="80">
                  <c:v>320.51391763350102</c:v>
                </c:pt>
                <c:pt idx="81">
                  <c:v>316.66280155427836</c:v>
                </c:pt>
                <c:pt idx="82">
                  <c:v>312.66090303112412</c:v>
                </c:pt>
                <c:pt idx="83">
                  <c:v>308.54971258885269</c:v>
                </c:pt>
                <c:pt idx="84">
                  <c:v>304.3773126354298</c:v>
                </c:pt>
                <c:pt idx="85">
                  <c:v>300.14657300343089</c:v>
                </c:pt>
                <c:pt idx="86">
                  <c:v>295.8468419402933</c:v>
                </c:pt>
                <c:pt idx="87">
                  <c:v>291.41688563793144</c:v>
                </c:pt>
                <c:pt idx="88">
                  <c:v>286.88485548078228</c:v>
                </c:pt>
                <c:pt idx="89">
                  <c:v>282.3306766704477</c:v>
                </c:pt>
                <c:pt idx="90">
                  <c:v>277.77876651915426</c:v>
                </c:pt>
                <c:pt idx="91">
                  <c:v>273.24992858923707</c:v>
                </c:pt>
                <c:pt idx="92">
                  <c:v>268.733629929725</c:v>
                </c:pt>
                <c:pt idx="93">
                  <c:v>264.246310542687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48.51306955635079</c:v>
                </c:pt>
                <c:pt idx="71">
                  <c:v>352.02225174095577</c:v>
                </c:pt>
                <c:pt idx="72">
                  <c:v>356.38153380555389</c:v>
                </c:pt>
                <c:pt idx="73">
                  <c:v>361.53068874514389</c:v>
                </c:pt>
                <c:pt idx="74">
                  <c:v>367.31042780804557</c:v>
                </c:pt>
                <c:pt idx="75">
                  <c:v>373.66166528361384</c:v>
                </c:pt>
                <c:pt idx="76">
                  <c:v>380.44168746365693</c:v>
                </c:pt>
                <c:pt idx="77">
                  <c:v>387.54637571811429</c:v>
                </c:pt>
                <c:pt idx="78">
                  <c:v>395.04866984657002</c:v>
                </c:pt>
                <c:pt idx="79">
                  <c:v>402.98299753643551</c:v>
                </c:pt>
                <c:pt idx="80">
                  <c:v>411.23646651865209</c:v>
                </c:pt>
                <c:pt idx="81">
                  <c:v>419.58105046903222</c:v>
                </c:pt>
                <c:pt idx="82">
                  <c:v>428.02241832596189</c:v>
                </c:pt>
                <c:pt idx="83">
                  <c:v>436.61711505123696</c:v>
                </c:pt>
                <c:pt idx="84">
                  <c:v>445.43232282306951</c:v>
                </c:pt>
                <c:pt idx="85">
                  <c:v>454.44785719231083</c:v>
                </c:pt>
                <c:pt idx="86">
                  <c:v>463.60217244216329</c:v>
                </c:pt>
                <c:pt idx="87">
                  <c:v>472.79619323027691</c:v>
                </c:pt>
                <c:pt idx="88">
                  <c:v>482.04719531033692</c:v>
                </c:pt>
                <c:pt idx="89">
                  <c:v>491.43546678604804</c:v>
                </c:pt>
                <c:pt idx="90">
                  <c:v>500.98095503059233</c:v>
                </c:pt>
                <c:pt idx="91">
                  <c:v>510.6828097953989</c:v>
                </c:pt>
                <c:pt idx="92">
                  <c:v>520.50266769495238</c:v>
                </c:pt>
                <c:pt idx="93">
                  <c:v>530.45261839368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49.39162799221015</c:v>
                </c:pt>
                <c:pt idx="71">
                  <c:v>354.13390921317261</c:v>
                </c:pt>
                <c:pt idx="72">
                  <c:v>360.01932368041804</c:v>
                </c:pt>
                <c:pt idx="73">
                  <c:v>367.01200607601862</c:v>
                </c:pt>
                <c:pt idx="74">
                  <c:v>374.96691889906697</c:v>
                </c:pt>
                <c:pt idx="75">
                  <c:v>383.74644214214197</c:v>
                </c:pt>
                <c:pt idx="76">
                  <c:v>393.17485916374562</c:v>
                </c:pt>
                <c:pt idx="77">
                  <c:v>403.16816579254782</c:v>
                </c:pt>
                <c:pt idx="78">
                  <c:v>413.84673813633714</c:v>
                </c:pt>
                <c:pt idx="79">
                  <c:v>425.24597803632179</c:v>
                </c:pt>
                <c:pt idx="80">
                  <c:v>437.2190504826184</c:v>
                </c:pt>
                <c:pt idx="81">
                  <c:v>449.48921694929004</c:v>
                </c:pt>
                <c:pt idx="82">
                  <c:v>462.04644692052995</c:v>
                </c:pt>
                <c:pt idx="83">
                  <c:v>474.96705048837458</c:v>
                </c:pt>
                <c:pt idx="84">
                  <c:v>488.34083169388578</c:v>
                </c:pt>
                <c:pt idx="85">
                  <c:v>502.14687322812472</c:v>
                </c:pt>
                <c:pt idx="86">
                  <c:v>516.31437766130102</c:v>
                </c:pt>
                <c:pt idx="87">
                  <c:v>530.73462151448177</c:v>
                </c:pt>
                <c:pt idx="88">
                  <c:v>545.4313606551566</c:v>
                </c:pt>
                <c:pt idx="89">
                  <c:v>560.49894519958264</c:v>
                </c:pt>
                <c:pt idx="90">
                  <c:v>575.96531626462058</c:v>
                </c:pt>
                <c:pt idx="91">
                  <c:v>591.83204794827373</c:v>
                </c:pt>
                <c:pt idx="92">
                  <c:v>608.05928350571935</c:v>
                </c:pt>
                <c:pt idx="93">
                  <c:v>624.66046667000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  <c:pt idx="67">
                  <c:v>690</c:v>
                </c:pt>
                <c:pt idx="68">
                  <c:v>690</c:v>
                </c:pt>
                <c:pt idx="69">
                  <c:v>690</c:v>
                </c:pt>
                <c:pt idx="70">
                  <c:v>690</c:v>
                </c:pt>
                <c:pt idx="71">
                  <c:v>690</c:v>
                </c:pt>
                <c:pt idx="72">
                  <c:v>690</c:v>
                </c:pt>
                <c:pt idx="73">
                  <c:v>690</c:v>
                </c:pt>
                <c:pt idx="74">
                  <c:v>690</c:v>
                </c:pt>
                <c:pt idx="75">
                  <c:v>690</c:v>
                </c:pt>
                <c:pt idx="76">
                  <c:v>690</c:v>
                </c:pt>
                <c:pt idx="77">
                  <c:v>690</c:v>
                </c:pt>
                <c:pt idx="78">
                  <c:v>690</c:v>
                </c:pt>
                <c:pt idx="79">
                  <c:v>690</c:v>
                </c:pt>
                <c:pt idx="80">
                  <c:v>690</c:v>
                </c:pt>
                <c:pt idx="81">
                  <c:v>690</c:v>
                </c:pt>
                <c:pt idx="82">
                  <c:v>690</c:v>
                </c:pt>
                <c:pt idx="83">
                  <c:v>690</c:v>
                </c:pt>
                <c:pt idx="84">
                  <c:v>690</c:v>
                </c:pt>
                <c:pt idx="85">
                  <c:v>690</c:v>
                </c:pt>
                <c:pt idx="86">
                  <c:v>690</c:v>
                </c:pt>
                <c:pt idx="87">
                  <c:v>690</c:v>
                </c:pt>
                <c:pt idx="88">
                  <c:v>690</c:v>
                </c:pt>
                <c:pt idx="89">
                  <c:v>690</c:v>
                </c:pt>
                <c:pt idx="90">
                  <c:v>690</c:v>
                </c:pt>
                <c:pt idx="91">
                  <c:v>690</c:v>
                </c:pt>
                <c:pt idx="92">
                  <c:v>690</c:v>
                </c:pt>
                <c:pt idx="93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5</c:v>
                </c:pt>
                <c:pt idx="1">
                  <c:v>894</c:v>
                </c:pt>
                <c:pt idx="2">
                  <c:v>950</c:v>
                </c:pt>
                <c:pt idx="3">
                  <c:v>1132</c:v>
                </c:pt>
                <c:pt idx="4">
                  <c:v>1139</c:v>
                </c:pt>
                <c:pt idx="5">
                  <c:v>1138</c:v>
                </c:pt>
                <c:pt idx="6">
                  <c:v>1109</c:v>
                </c:pt>
                <c:pt idx="7">
                  <c:v>1026</c:v>
                </c:pt>
                <c:pt idx="8">
                  <c:v>892</c:v>
                </c:pt>
                <c:pt idx="9">
                  <c:v>928</c:v>
                </c:pt>
                <c:pt idx="10">
                  <c:v>1047</c:v>
                </c:pt>
                <c:pt idx="11">
                  <c:v>1061</c:v>
                </c:pt>
                <c:pt idx="12">
                  <c:v>1021</c:v>
                </c:pt>
                <c:pt idx="13">
                  <c:v>1000</c:v>
                </c:pt>
                <c:pt idx="14">
                  <c:v>992</c:v>
                </c:pt>
                <c:pt idx="15">
                  <c:v>924</c:v>
                </c:pt>
                <c:pt idx="16">
                  <c:v>890</c:v>
                </c:pt>
                <c:pt idx="17">
                  <c:v>950</c:v>
                </c:pt>
                <c:pt idx="18">
                  <c:v>885</c:v>
                </c:pt>
                <c:pt idx="19">
                  <c:v>835</c:v>
                </c:pt>
                <c:pt idx="20">
                  <c:v>770</c:v>
                </c:pt>
                <c:pt idx="21">
                  <c:v>733</c:v>
                </c:pt>
                <c:pt idx="22">
                  <c:v>683</c:v>
                </c:pt>
                <c:pt idx="23">
                  <c:v>671</c:v>
                </c:pt>
                <c:pt idx="24">
                  <c:v>711</c:v>
                </c:pt>
                <c:pt idx="25">
                  <c:v>705</c:v>
                </c:pt>
                <c:pt idx="26">
                  <c:v>640</c:v>
                </c:pt>
                <c:pt idx="27">
                  <c:v>610</c:v>
                </c:pt>
                <c:pt idx="28">
                  <c:v>568</c:v>
                </c:pt>
                <c:pt idx="29">
                  <c:v>522</c:v>
                </c:pt>
                <c:pt idx="30">
                  <c:v>523</c:v>
                </c:pt>
                <c:pt idx="31">
                  <c:v>587</c:v>
                </c:pt>
                <c:pt idx="32">
                  <c:v>564</c:v>
                </c:pt>
                <c:pt idx="33">
                  <c:v>546</c:v>
                </c:pt>
                <c:pt idx="34">
                  <c:v>526</c:v>
                </c:pt>
                <c:pt idx="35">
                  <c:v>523</c:v>
                </c:pt>
                <c:pt idx="36">
                  <c:v>472</c:v>
                </c:pt>
                <c:pt idx="37">
                  <c:v>461</c:v>
                </c:pt>
                <c:pt idx="38">
                  <c:v>476</c:v>
                </c:pt>
                <c:pt idx="39">
                  <c:v>473</c:v>
                </c:pt>
                <c:pt idx="40">
                  <c:v>481</c:v>
                </c:pt>
                <c:pt idx="41">
                  <c:v>471</c:v>
                </c:pt>
                <c:pt idx="42">
                  <c:v>450</c:v>
                </c:pt>
                <c:pt idx="43">
                  <c:v>422</c:v>
                </c:pt>
                <c:pt idx="44">
                  <c:v>437</c:v>
                </c:pt>
                <c:pt idx="45">
                  <c:v>493</c:v>
                </c:pt>
                <c:pt idx="46">
                  <c:v>500</c:v>
                </c:pt>
                <c:pt idx="47">
                  <c:v>536</c:v>
                </c:pt>
                <c:pt idx="48">
                  <c:v>521</c:v>
                </c:pt>
                <c:pt idx="49">
                  <c:v>539</c:v>
                </c:pt>
                <c:pt idx="50">
                  <c:v>481</c:v>
                </c:pt>
                <c:pt idx="51">
                  <c:v>519</c:v>
                </c:pt>
                <c:pt idx="52">
                  <c:v>572</c:v>
                </c:pt>
                <c:pt idx="53">
                  <c:v>593</c:v>
                </c:pt>
                <c:pt idx="54">
                  <c:v>625</c:v>
                </c:pt>
                <c:pt idx="55">
                  <c:v>636</c:v>
                </c:pt>
                <c:pt idx="56">
                  <c:v>660</c:v>
                </c:pt>
                <c:pt idx="57">
                  <c:v>609</c:v>
                </c:pt>
                <c:pt idx="58">
                  <c:v>608</c:v>
                </c:pt>
                <c:pt idx="59">
                  <c:v>681</c:v>
                </c:pt>
                <c:pt idx="60">
                  <c:v>745</c:v>
                </c:pt>
                <c:pt idx="61">
                  <c:v>759</c:v>
                </c:pt>
                <c:pt idx="62">
                  <c:v>763</c:v>
                </c:pt>
                <c:pt idx="63">
                  <c:v>773</c:v>
                </c:pt>
                <c:pt idx="64">
                  <c:v>721</c:v>
                </c:pt>
                <c:pt idx="65">
                  <c:v>751</c:v>
                </c:pt>
                <c:pt idx="66">
                  <c:v>807</c:v>
                </c:pt>
                <c:pt idx="67">
                  <c:v>846</c:v>
                </c:pt>
                <c:pt idx="68">
                  <c:v>870</c:v>
                </c:pt>
                <c:pt idx="69">
                  <c:v>846</c:v>
                </c:pt>
                <c:pt idx="70">
                  <c:v>832</c:v>
                </c:pt>
                <c:pt idx="71">
                  <c:v>776</c:v>
                </c:pt>
                <c:pt idx="72">
                  <c:v>803</c:v>
                </c:pt>
                <c:pt idx="73">
                  <c:v>867</c:v>
                </c:pt>
                <c:pt idx="74">
                  <c:v>858</c:v>
                </c:pt>
                <c:pt idx="75">
                  <c:v>853</c:v>
                </c:pt>
                <c:pt idx="76">
                  <c:v>830</c:v>
                </c:pt>
                <c:pt idx="77">
                  <c:v>826</c:v>
                </c:pt>
                <c:pt idx="78">
                  <c:v>787</c:v>
                </c:pt>
                <c:pt idx="79">
                  <c:v>811</c:v>
                </c:pt>
                <c:pt idx="80">
                  <c:v>889</c:v>
                </c:pt>
                <c:pt idx="81">
                  <c:v>889</c:v>
                </c:pt>
                <c:pt idx="82">
                  <c:v>859</c:v>
                </c:pt>
                <c:pt idx="83">
                  <c:v>865</c:v>
                </c:pt>
                <c:pt idx="84">
                  <c:v>872</c:v>
                </c:pt>
                <c:pt idx="85">
                  <c:v>836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93.0430788730971</c:v>
                </c:pt>
                <c:pt idx="71">
                  <c:v>784.01200999727666</c:v>
                </c:pt>
                <c:pt idx="72">
                  <c:v>773.83051934849107</c:v>
                </c:pt>
                <c:pt idx="73">
                  <c:v>762.28680502687246</c:v>
                </c:pt>
                <c:pt idx="74">
                  <c:v>748.99788085043701</c:v>
                </c:pt>
                <c:pt idx="75">
                  <c:v>734.68206937731588</c:v>
                </c:pt>
                <c:pt idx="76">
                  <c:v>719.53549789051567</c:v>
                </c:pt>
                <c:pt idx="77">
                  <c:v>703.38113495028551</c:v>
                </c:pt>
                <c:pt idx="78">
                  <c:v>686.2825436180633</c:v>
                </c:pt>
                <c:pt idx="79">
                  <c:v>668.465916239443</c:v>
                </c:pt>
                <c:pt idx="80">
                  <c:v>650.1290691665755</c:v>
                </c:pt>
                <c:pt idx="81">
                  <c:v>631.38113553060975</c:v>
                </c:pt>
                <c:pt idx="82">
                  <c:v>612.54143789909722</c:v>
                </c:pt>
                <c:pt idx="83">
                  <c:v>593.71161364488376</c:v>
                </c:pt>
                <c:pt idx="84">
                  <c:v>575.03174262744903</c:v>
                </c:pt>
                <c:pt idx="85">
                  <c:v>556.54451329916026</c:v>
                </c:pt>
                <c:pt idx="86">
                  <c:v>538.24631018578873</c:v>
                </c:pt>
                <c:pt idx="87">
                  <c:v>520.00857764472482</c:v>
                </c:pt>
                <c:pt idx="88">
                  <c:v>501.91607043389524</c:v>
                </c:pt>
                <c:pt idx="89">
                  <c:v>484.16403904924277</c:v>
                </c:pt>
                <c:pt idx="90">
                  <c:v>466.81720115095573</c:v>
                </c:pt>
                <c:pt idx="91">
                  <c:v>449.94071818412641</c:v>
                </c:pt>
                <c:pt idx="92">
                  <c:v>433.51256989695935</c:v>
                </c:pt>
                <c:pt idx="93">
                  <c:v>417.56382938728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97.07305149833132</c:v>
                </c:pt>
                <c:pt idx="71">
                  <c:v>793.43453687962233</c:v>
                </c:pt>
                <c:pt idx="72">
                  <c:v>789.52410701788324</c:v>
                </c:pt>
                <c:pt idx="73">
                  <c:v>785.11566571003095</c:v>
                </c:pt>
                <c:pt idx="74">
                  <c:v>779.81545819547614</c:v>
                </c:pt>
                <c:pt idx="75">
                  <c:v>774.08333233040071</c:v>
                </c:pt>
                <c:pt idx="76">
                  <c:v>767.92549009343497</c:v>
                </c:pt>
                <c:pt idx="77">
                  <c:v>761.09119318106582</c:v>
                </c:pt>
                <c:pt idx="78">
                  <c:v>753.59985543918697</c:v>
                </c:pt>
                <c:pt idx="79">
                  <c:v>745.60492095390623</c:v>
                </c:pt>
                <c:pt idx="80">
                  <c:v>737.15853360807955</c:v>
                </c:pt>
                <c:pt idx="81">
                  <c:v>728.17988859153434</c:v>
                </c:pt>
                <c:pt idx="82">
                  <c:v>718.87599755916847</c:v>
                </c:pt>
                <c:pt idx="83">
                  <c:v>709.33123820221272</c:v>
                </c:pt>
                <c:pt idx="84">
                  <c:v>699.6616405578568</c:v>
                </c:pt>
                <c:pt idx="85">
                  <c:v>689.87474726395692</c:v>
                </c:pt>
                <c:pt idx="86">
                  <c:v>679.93744885735441</c:v>
                </c:pt>
                <c:pt idx="87">
                  <c:v>669.70203412230899</c:v>
                </c:pt>
                <c:pt idx="88">
                  <c:v>659.2445385343608</c:v>
                </c:pt>
                <c:pt idx="89">
                  <c:v>648.74798885636437</c:v>
                </c:pt>
                <c:pt idx="90">
                  <c:v>638.26444644288051</c:v>
                </c:pt>
                <c:pt idx="91">
                  <c:v>627.84132182448366</c:v>
                </c:pt>
                <c:pt idx="92">
                  <c:v>617.45318280814308</c:v>
                </c:pt>
                <c:pt idx="93">
                  <c:v>607.13723981753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805.1329967488</c:v>
                </c:pt>
                <c:pt idx="71">
                  <c:v>812.56329524812588</c:v>
                </c:pt>
                <c:pt idx="72">
                  <c:v>821.98268599153721</c:v>
                </c:pt>
                <c:pt idx="73">
                  <c:v>833.29178646108562</c:v>
                </c:pt>
                <c:pt idx="74">
                  <c:v>846.14314649903611</c:v>
                </c:pt>
                <c:pt idx="75">
                  <c:v>860.36004191690176</c:v>
                </c:pt>
                <c:pt idx="76">
                  <c:v>875.59323397174944</c:v>
                </c:pt>
                <c:pt idx="77">
                  <c:v>891.61934762670126</c:v>
                </c:pt>
                <c:pt idx="78">
                  <c:v>908.59859260234748</c:v>
                </c:pt>
                <c:pt idx="79">
                  <c:v>926.60610422167929</c:v>
                </c:pt>
                <c:pt idx="80">
                  <c:v>945.38886867290103</c:v>
                </c:pt>
                <c:pt idx="81">
                  <c:v>964.4211797144734</c:v>
                </c:pt>
                <c:pt idx="82">
                  <c:v>983.69365102630195</c:v>
                </c:pt>
                <c:pt idx="83">
                  <c:v>1003.3253355243396</c:v>
                </c:pt>
                <c:pt idx="84">
                  <c:v>1023.4757382061207</c:v>
                </c:pt>
                <c:pt idx="85">
                  <c:v>1044.1011989006465</c:v>
                </c:pt>
                <c:pt idx="86">
                  <c:v>1065.0508921926335</c:v>
                </c:pt>
                <c:pt idx="87">
                  <c:v>1086.0895513474916</c:v>
                </c:pt>
                <c:pt idx="88">
                  <c:v>1107.2689128216171</c:v>
                </c:pt>
                <c:pt idx="89">
                  <c:v>1128.7722277135442</c:v>
                </c:pt>
                <c:pt idx="90">
                  <c:v>1150.6421648673947</c:v>
                </c:pt>
                <c:pt idx="91">
                  <c:v>1172.8771332613064</c:v>
                </c:pt>
                <c:pt idx="92">
                  <c:v>1195.3893553380349</c:v>
                </c:pt>
                <c:pt idx="93">
                  <c:v>1218.2063073828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807.14627399753863</c:v>
                </c:pt>
                <c:pt idx="71">
                  <c:v>817.40239980733963</c:v>
                </c:pt>
                <c:pt idx="72">
                  <c:v>830.31970606547793</c:v>
                </c:pt>
                <c:pt idx="73">
                  <c:v>845.8557981591232</c:v>
                </c:pt>
                <c:pt idx="74">
                  <c:v>863.69609379115525</c:v>
                </c:pt>
                <c:pt idx="75">
                  <c:v>883.48458594842566</c:v>
                </c:pt>
                <c:pt idx="76">
                  <c:v>904.79651185805324</c:v>
                </c:pt>
                <c:pt idx="77">
                  <c:v>927.45564828325405</c:v>
                </c:pt>
                <c:pt idx="78">
                  <c:v>951.72978287417084</c:v>
                </c:pt>
                <c:pt idx="79">
                  <c:v>977.6950884105396</c:v>
                </c:pt>
                <c:pt idx="80">
                  <c:v>1005.0202555387142</c:v>
                </c:pt>
                <c:pt idx="81">
                  <c:v>1033.0672096206515</c:v>
                </c:pt>
                <c:pt idx="82">
                  <c:v>1061.7905001420397</c:v>
                </c:pt>
                <c:pt idx="83">
                  <c:v>1091.354530006879</c:v>
                </c:pt>
                <c:pt idx="84">
                  <c:v>1121.9706095675679</c:v>
                </c:pt>
                <c:pt idx="85">
                  <c:v>1153.593861915193</c:v>
                </c:pt>
                <c:pt idx="86">
                  <c:v>1186.0520284841502</c:v>
                </c:pt>
                <c:pt idx="87">
                  <c:v>1219.0875245782704</c:v>
                </c:pt>
                <c:pt idx="88">
                  <c:v>1252.7670713559262</c:v>
                </c:pt>
                <c:pt idx="89">
                  <c:v>1287.3059881232223</c:v>
                </c:pt>
                <c:pt idx="90">
                  <c:v>1322.7654834781636</c:v>
                </c:pt>
                <c:pt idx="91">
                  <c:v>1359.1497134763433</c:v>
                </c:pt>
                <c:pt idx="92">
                  <c:v>1396.3678607407455</c:v>
                </c:pt>
                <c:pt idx="93">
                  <c:v>1434.4505839639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73</c:v>
                </c:pt>
                <c:pt idx="1">
                  <c:v>873</c:v>
                </c:pt>
                <c:pt idx="2">
                  <c:v>873</c:v>
                </c:pt>
                <c:pt idx="3">
                  <c:v>873</c:v>
                </c:pt>
                <c:pt idx="4">
                  <c:v>873</c:v>
                </c:pt>
                <c:pt idx="5">
                  <c:v>873</c:v>
                </c:pt>
                <c:pt idx="6">
                  <c:v>873</c:v>
                </c:pt>
                <c:pt idx="7">
                  <c:v>873</c:v>
                </c:pt>
                <c:pt idx="8">
                  <c:v>873</c:v>
                </c:pt>
                <c:pt idx="9">
                  <c:v>873</c:v>
                </c:pt>
                <c:pt idx="10">
                  <c:v>873</c:v>
                </c:pt>
                <c:pt idx="11">
                  <c:v>873</c:v>
                </c:pt>
                <c:pt idx="12">
                  <c:v>873</c:v>
                </c:pt>
                <c:pt idx="13">
                  <c:v>873</c:v>
                </c:pt>
                <c:pt idx="14">
                  <c:v>873</c:v>
                </c:pt>
                <c:pt idx="15">
                  <c:v>873</c:v>
                </c:pt>
                <c:pt idx="16">
                  <c:v>873</c:v>
                </c:pt>
                <c:pt idx="17">
                  <c:v>873</c:v>
                </c:pt>
                <c:pt idx="18">
                  <c:v>873</c:v>
                </c:pt>
                <c:pt idx="19">
                  <c:v>873</c:v>
                </c:pt>
                <c:pt idx="20">
                  <c:v>873</c:v>
                </c:pt>
                <c:pt idx="21">
                  <c:v>873</c:v>
                </c:pt>
                <c:pt idx="22">
                  <c:v>873</c:v>
                </c:pt>
                <c:pt idx="23">
                  <c:v>873</c:v>
                </c:pt>
                <c:pt idx="24">
                  <c:v>873</c:v>
                </c:pt>
                <c:pt idx="25">
                  <c:v>873</c:v>
                </c:pt>
                <c:pt idx="26">
                  <c:v>873</c:v>
                </c:pt>
                <c:pt idx="27">
                  <c:v>873</c:v>
                </c:pt>
                <c:pt idx="28">
                  <c:v>873</c:v>
                </c:pt>
                <c:pt idx="29">
                  <c:v>873</c:v>
                </c:pt>
                <c:pt idx="30">
                  <c:v>873</c:v>
                </c:pt>
                <c:pt idx="31">
                  <c:v>873</c:v>
                </c:pt>
                <c:pt idx="32">
                  <c:v>873</c:v>
                </c:pt>
                <c:pt idx="33">
                  <c:v>873</c:v>
                </c:pt>
                <c:pt idx="34">
                  <c:v>873</c:v>
                </c:pt>
                <c:pt idx="35">
                  <c:v>873</c:v>
                </c:pt>
                <c:pt idx="36">
                  <c:v>873</c:v>
                </c:pt>
                <c:pt idx="37">
                  <c:v>873</c:v>
                </c:pt>
                <c:pt idx="38">
                  <c:v>873</c:v>
                </c:pt>
                <c:pt idx="39">
                  <c:v>873</c:v>
                </c:pt>
                <c:pt idx="40">
                  <c:v>873</c:v>
                </c:pt>
                <c:pt idx="41">
                  <c:v>873</c:v>
                </c:pt>
                <c:pt idx="42">
                  <c:v>873</c:v>
                </c:pt>
                <c:pt idx="43">
                  <c:v>873</c:v>
                </c:pt>
                <c:pt idx="44">
                  <c:v>873</c:v>
                </c:pt>
                <c:pt idx="45">
                  <c:v>873</c:v>
                </c:pt>
                <c:pt idx="46">
                  <c:v>873</c:v>
                </c:pt>
                <c:pt idx="47">
                  <c:v>873</c:v>
                </c:pt>
                <c:pt idx="48">
                  <c:v>873</c:v>
                </c:pt>
                <c:pt idx="49">
                  <c:v>873</c:v>
                </c:pt>
                <c:pt idx="50">
                  <c:v>873</c:v>
                </c:pt>
                <c:pt idx="51">
                  <c:v>873</c:v>
                </c:pt>
                <c:pt idx="52">
                  <c:v>873</c:v>
                </c:pt>
                <c:pt idx="53">
                  <c:v>873</c:v>
                </c:pt>
                <c:pt idx="54">
                  <c:v>873</c:v>
                </c:pt>
                <c:pt idx="55">
                  <c:v>873</c:v>
                </c:pt>
                <c:pt idx="56">
                  <c:v>873</c:v>
                </c:pt>
                <c:pt idx="57">
                  <c:v>873</c:v>
                </c:pt>
                <c:pt idx="58">
                  <c:v>873</c:v>
                </c:pt>
                <c:pt idx="59">
                  <c:v>873</c:v>
                </c:pt>
                <c:pt idx="60">
                  <c:v>873</c:v>
                </c:pt>
                <c:pt idx="61">
                  <c:v>873</c:v>
                </c:pt>
                <c:pt idx="62">
                  <c:v>873</c:v>
                </c:pt>
                <c:pt idx="63">
                  <c:v>873</c:v>
                </c:pt>
                <c:pt idx="64">
                  <c:v>873</c:v>
                </c:pt>
                <c:pt idx="65">
                  <c:v>873</c:v>
                </c:pt>
                <c:pt idx="66">
                  <c:v>873</c:v>
                </c:pt>
                <c:pt idx="67">
                  <c:v>873</c:v>
                </c:pt>
                <c:pt idx="68">
                  <c:v>873</c:v>
                </c:pt>
                <c:pt idx="69">
                  <c:v>873</c:v>
                </c:pt>
                <c:pt idx="70">
                  <c:v>873</c:v>
                </c:pt>
                <c:pt idx="71">
                  <c:v>873</c:v>
                </c:pt>
                <c:pt idx="72">
                  <c:v>873</c:v>
                </c:pt>
                <c:pt idx="73">
                  <c:v>873</c:v>
                </c:pt>
                <c:pt idx="74">
                  <c:v>873</c:v>
                </c:pt>
                <c:pt idx="75">
                  <c:v>873</c:v>
                </c:pt>
                <c:pt idx="76">
                  <c:v>873</c:v>
                </c:pt>
                <c:pt idx="77">
                  <c:v>873</c:v>
                </c:pt>
                <c:pt idx="78">
                  <c:v>873</c:v>
                </c:pt>
                <c:pt idx="79">
                  <c:v>873</c:v>
                </c:pt>
                <c:pt idx="80">
                  <c:v>873</c:v>
                </c:pt>
                <c:pt idx="81">
                  <c:v>873</c:v>
                </c:pt>
                <c:pt idx="82">
                  <c:v>873</c:v>
                </c:pt>
                <c:pt idx="83">
                  <c:v>873</c:v>
                </c:pt>
                <c:pt idx="84">
                  <c:v>873</c:v>
                </c:pt>
                <c:pt idx="85">
                  <c:v>873</c:v>
                </c:pt>
                <c:pt idx="86">
                  <c:v>873</c:v>
                </c:pt>
                <c:pt idx="87">
                  <c:v>873</c:v>
                </c:pt>
                <c:pt idx="88">
                  <c:v>873</c:v>
                </c:pt>
                <c:pt idx="89">
                  <c:v>873</c:v>
                </c:pt>
                <c:pt idx="90">
                  <c:v>873</c:v>
                </c:pt>
                <c:pt idx="91">
                  <c:v>873</c:v>
                </c:pt>
                <c:pt idx="92">
                  <c:v>873</c:v>
                </c:pt>
                <c:pt idx="93">
                  <c:v>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76</c:v>
                </c:pt>
                <c:pt idx="1">
                  <c:v>1266</c:v>
                </c:pt>
                <c:pt idx="2">
                  <c:v>1916</c:v>
                </c:pt>
                <c:pt idx="3">
                  <c:v>2913</c:v>
                </c:pt>
                <c:pt idx="4">
                  <c:v>3920</c:v>
                </c:pt>
                <c:pt idx="5">
                  <c:v>4825</c:v>
                </c:pt>
                <c:pt idx="6">
                  <c:v>5730</c:v>
                </c:pt>
                <c:pt idx="7">
                  <c:v>6531</c:v>
                </c:pt>
                <c:pt idx="8">
                  <c:v>7115</c:v>
                </c:pt>
                <c:pt idx="9">
                  <c:v>7658</c:v>
                </c:pt>
                <c:pt idx="10">
                  <c:v>8507</c:v>
                </c:pt>
                <c:pt idx="11">
                  <c:v>9364</c:v>
                </c:pt>
                <c:pt idx="12">
                  <c:v>10055</c:v>
                </c:pt>
                <c:pt idx="13">
                  <c:v>10720</c:v>
                </c:pt>
                <c:pt idx="14">
                  <c:v>11430</c:v>
                </c:pt>
                <c:pt idx="15">
                  <c:v>11876</c:v>
                </c:pt>
                <c:pt idx="16">
                  <c:v>12267</c:v>
                </c:pt>
                <c:pt idx="17">
                  <c:v>12962</c:v>
                </c:pt>
                <c:pt idx="18">
                  <c:v>13650</c:v>
                </c:pt>
                <c:pt idx="19">
                  <c:v>14317</c:v>
                </c:pt>
                <c:pt idx="20">
                  <c:v>14896</c:v>
                </c:pt>
                <c:pt idx="21">
                  <c:v>15491</c:v>
                </c:pt>
                <c:pt idx="22">
                  <c:v>15944</c:v>
                </c:pt>
                <c:pt idx="23">
                  <c:v>16326</c:v>
                </c:pt>
                <c:pt idx="24">
                  <c:v>16982</c:v>
                </c:pt>
                <c:pt idx="25">
                  <c:v>17614</c:v>
                </c:pt>
                <c:pt idx="26">
                  <c:v>18199</c:v>
                </c:pt>
                <c:pt idx="27">
                  <c:v>18756</c:v>
                </c:pt>
                <c:pt idx="28">
                  <c:v>19371</c:v>
                </c:pt>
                <c:pt idx="29">
                  <c:v>19797</c:v>
                </c:pt>
                <c:pt idx="30">
                  <c:v>20183</c:v>
                </c:pt>
                <c:pt idx="31">
                  <c:v>20917</c:v>
                </c:pt>
                <c:pt idx="32">
                  <c:v>21550</c:v>
                </c:pt>
                <c:pt idx="33">
                  <c:v>22163</c:v>
                </c:pt>
                <c:pt idx="34">
                  <c:v>22791</c:v>
                </c:pt>
                <c:pt idx="35">
                  <c:v>23375</c:v>
                </c:pt>
                <c:pt idx="36">
                  <c:v>23846</c:v>
                </c:pt>
                <c:pt idx="37">
                  <c:v>24279</c:v>
                </c:pt>
                <c:pt idx="38">
                  <c:v>24941</c:v>
                </c:pt>
                <c:pt idx="39">
                  <c:v>25592</c:v>
                </c:pt>
                <c:pt idx="40">
                  <c:v>26223</c:v>
                </c:pt>
                <c:pt idx="41">
                  <c:v>26851</c:v>
                </c:pt>
                <c:pt idx="42">
                  <c:v>27464</c:v>
                </c:pt>
                <c:pt idx="43">
                  <c:v>27938</c:v>
                </c:pt>
                <c:pt idx="44">
                  <c:v>28473</c:v>
                </c:pt>
                <c:pt idx="45">
                  <c:v>29186</c:v>
                </c:pt>
                <c:pt idx="46">
                  <c:v>29940</c:v>
                </c:pt>
                <c:pt idx="47">
                  <c:v>30738</c:v>
                </c:pt>
                <c:pt idx="48">
                  <c:v>31464</c:v>
                </c:pt>
                <c:pt idx="49">
                  <c:v>32238</c:v>
                </c:pt>
                <c:pt idx="50">
                  <c:v>32796</c:v>
                </c:pt>
                <c:pt idx="51">
                  <c:v>33387</c:v>
                </c:pt>
                <c:pt idx="52">
                  <c:v>34306</c:v>
                </c:pt>
                <c:pt idx="53">
                  <c:v>35147</c:v>
                </c:pt>
                <c:pt idx="54">
                  <c:v>35984</c:v>
                </c:pt>
                <c:pt idx="55">
                  <c:v>36897</c:v>
                </c:pt>
                <c:pt idx="56">
                  <c:v>37787</c:v>
                </c:pt>
                <c:pt idx="57">
                  <c:v>38498</c:v>
                </c:pt>
                <c:pt idx="58">
                  <c:v>39144</c:v>
                </c:pt>
                <c:pt idx="59">
                  <c:v>40288</c:v>
                </c:pt>
                <c:pt idx="60">
                  <c:v>41327</c:v>
                </c:pt>
                <c:pt idx="61">
                  <c:v>42186</c:v>
                </c:pt>
                <c:pt idx="62">
                  <c:v>43098</c:v>
                </c:pt>
                <c:pt idx="63">
                  <c:v>43999</c:v>
                </c:pt>
                <c:pt idx="64">
                  <c:v>44741</c:v>
                </c:pt>
                <c:pt idx="65">
                  <c:v>45454</c:v>
                </c:pt>
                <c:pt idx="66">
                  <c:v>46490</c:v>
                </c:pt>
                <c:pt idx="67">
                  <c:v>47467</c:v>
                </c:pt>
                <c:pt idx="68">
                  <c:v>48493</c:v>
                </c:pt>
                <c:pt idx="69">
                  <c:v>49422</c:v>
                </c:pt>
                <c:pt idx="70">
                  <c:v>50388</c:v>
                </c:pt>
                <c:pt idx="71">
                  <c:v>51134</c:v>
                </c:pt>
                <c:pt idx="72">
                  <c:v>51786</c:v>
                </c:pt>
                <c:pt idx="73">
                  <c:v>52808</c:v>
                </c:pt>
                <c:pt idx="74">
                  <c:v>53726</c:v>
                </c:pt>
                <c:pt idx="75">
                  <c:v>54596</c:v>
                </c:pt>
                <c:pt idx="76">
                  <c:v>55404</c:v>
                </c:pt>
                <c:pt idx="77">
                  <c:v>56210</c:v>
                </c:pt>
                <c:pt idx="78">
                  <c:v>56765</c:v>
                </c:pt>
                <c:pt idx="79">
                  <c:v>57325</c:v>
                </c:pt>
                <c:pt idx="80">
                  <c:v>58250</c:v>
                </c:pt>
                <c:pt idx="81">
                  <c:v>59010</c:v>
                </c:pt>
                <c:pt idx="82">
                  <c:v>59748</c:v>
                </c:pt>
                <c:pt idx="83">
                  <c:v>60457</c:v>
                </c:pt>
                <c:pt idx="84">
                  <c:v>61068</c:v>
                </c:pt>
                <c:pt idx="85">
                  <c:v>6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0051.885484355189</c:v>
                </c:pt>
                <c:pt idx="71">
                  <c:v>50805.807753112167</c:v>
                </c:pt>
                <c:pt idx="72">
                  <c:v>51538.858838176122</c:v>
                </c:pt>
                <c:pt idx="73">
                  <c:v>52251.34423451958</c:v>
                </c:pt>
                <c:pt idx="74">
                  <c:v>52938.649458015017</c:v>
                </c:pt>
                <c:pt idx="75">
                  <c:v>53603.486749953699</c:v>
                </c:pt>
                <c:pt idx="76">
                  <c:v>54248.018505691536</c:v>
                </c:pt>
                <c:pt idx="77">
                  <c:v>54872.038907530849</c:v>
                </c:pt>
                <c:pt idx="78">
                  <c:v>55472.708426315556</c:v>
                </c:pt>
                <c:pt idx="79">
                  <c:v>56049.521944799184</c:v>
                </c:pt>
                <c:pt idx="80">
                  <c:v>56604.203161617654</c:v>
                </c:pt>
                <c:pt idx="81">
                  <c:v>57138.228231809095</c:v>
                </c:pt>
                <c:pt idx="82">
                  <c:v>57653.222328206299</c:v>
                </c:pt>
                <c:pt idx="83">
                  <c:v>58149.326411744041</c:v>
                </c:pt>
                <c:pt idx="84">
                  <c:v>58626.644435563292</c:v>
                </c:pt>
                <c:pt idx="85">
                  <c:v>59085.428096534932</c:v>
                </c:pt>
                <c:pt idx="86">
                  <c:v>59526.548627308097</c:v>
                </c:pt>
                <c:pt idx="87">
                  <c:v>59951.154288158978</c:v>
                </c:pt>
                <c:pt idx="88">
                  <c:v>60360.096078884148</c:v>
                </c:pt>
                <c:pt idx="89">
                  <c:v>60753.893300277756</c:v>
                </c:pt>
                <c:pt idx="90">
                  <c:v>61132.730851802065</c:v>
                </c:pt>
                <c:pt idx="91">
                  <c:v>61497.056803374093</c:v>
                </c:pt>
                <c:pt idx="92">
                  <c:v>61847.514963620233</c:v>
                </c:pt>
                <c:pt idx="93">
                  <c:v>62184.803166478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0097.82534426896</c:v>
                </c:pt>
                <c:pt idx="71">
                  <c:v>50914.691946146537</c:v>
                </c:pt>
                <c:pt idx="72">
                  <c:v>51723.333039583915</c:v>
                </c:pt>
                <c:pt idx="73">
                  <c:v>52524.83844048898</c:v>
                </c:pt>
                <c:pt idx="74">
                  <c:v>53315.331270729097</c:v>
                </c:pt>
                <c:pt idx="75">
                  <c:v>54095.328789748048</c:v>
                </c:pt>
                <c:pt idx="76">
                  <c:v>54865.573516879042</c:v>
                </c:pt>
                <c:pt idx="77">
                  <c:v>55625.812007901179</c:v>
                </c:pt>
                <c:pt idx="78">
                  <c:v>56373.417171871239</c:v>
                </c:pt>
                <c:pt idx="79">
                  <c:v>57107.547128413447</c:v>
                </c:pt>
                <c:pt idx="80">
                  <c:v>57829.064572838557</c:v>
                </c:pt>
                <c:pt idx="81">
                  <c:v>58538.377674533789</c:v>
                </c:pt>
                <c:pt idx="82">
                  <c:v>59236.007865431049</c:v>
                </c:pt>
                <c:pt idx="83">
                  <c:v>59921.725976349946</c:v>
                </c:pt>
                <c:pt idx="84">
                  <c:v>60595.309220596711</c:v>
                </c:pt>
                <c:pt idx="85">
                  <c:v>61256.647515067772</c:v>
                </c:pt>
                <c:pt idx="86">
                  <c:v>61906.034881250795</c:v>
                </c:pt>
                <c:pt idx="87">
                  <c:v>62544.038200203577</c:v>
                </c:pt>
                <c:pt idx="88">
                  <c:v>63171.009252998389</c:v>
                </c:pt>
                <c:pt idx="89">
                  <c:v>63787.049383981284</c:v>
                </c:pt>
                <c:pt idx="90">
                  <c:v>64392.02464945722</c:v>
                </c:pt>
                <c:pt idx="91">
                  <c:v>64986.029267965932</c:v>
                </c:pt>
                <c:pt idx="92">
                  <c:v>65569.360273234037</c:v>
                </c:pt>
                <c:pt idx="93">
                  <c:v>66142.258981979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0189.705064096517</c:v>
                </c:pt>
                <c:pt idx="71">
                  <c:v>51135.694436009042</c:v>
                </c:pt>
                <c:pt idx="72">
                  <c:v>52104.598560757935</c:v>
                </c:pt>
                <c:pt idx="73">
                  <c:v>53101.076913423247</c:v>
                </c:pt>
                <c:pt idx="74">
                  <c:v>54123.853074577826</c:v>
                </c:pt>
                <c:pt idx="75">
                  <c:v>55168.133478394688</c:v>
                </c:pt>
                <c:pt idx="76">
                  <c:v>56232.547863373271</c:v>
                </c:pt>
                <c:pt idx="77">
                  <c:v>57319.215742248554</c:v>
                </c:pt>
                <c:pt idx="78">
                  <c:v>58429.12020968469</c:v>
                </c:pt>
                <c:pt idx="79">
                  <c:v>59562.236007332962</c:v>
                </c:pt>
                <c:pt idx="80">
                  <c:v>60718.379188095256</c:v>
                </c:pt>
                <c:pt idx="81">
                  <c:v>61895.994724965967</c:v>
                </c:pt>
                <c:pt idx="82">
                  <c:v>63094.473515680147</c:v>
                </c:pt>
                <c:pt idx="83">
                  <c:v>64314.657720891926</c:v>
                </c:pt>
                <c:pt idx="84">
                  <c:v>65557.778683001685</c:v>
                </c:pt>
                <c:pt idx="85">
                  <c:v>66824.322705413506</c:v>
                </c:pt>
                <c:pt idx="86">
                  <c:v>68113.878410167832</c:v>
                </c:pt>
                <c:pt idx="87">
                  <c:v>69426.425294094079</c:v>
                </c:pt>
                <c:pt idx="88">
                  <c:v>70762.402972905154</c:v>
                </c:pt>
                <c:pt idx="89">
                  <c:v>72122.527186966137</c:v>
                </c:pt>
                <c:pt idx="90">
                  <c:v>73507.355603345131</c:v>
                </c:pt>
                <c:pt idx="91">
                  <c:v>74917.264840265925</c:v>
                </c:pt>
                <c:pt idx="92">
                  <c:v>76352.386554521479</c:v>
                </c:pt>
                <c:pt idx="93">
                  <c:v>77812.972142071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0212.65551150043</c:v>
                </c:pt>
                <c:pt idx="71">
                  <c:v>51191.593239168644</c:v>
                </c:pt>
                <c:pt idx="72">
                  <c:v>52202.46979829207</c:v>
                </c:pt>
                <c:pt idx="73">
                  <c:v>53251.174347632725</c:v>
                </c:pt>
                <c:pt idx="74">
                  <c:v>54337.395017546623</c:v>
                </c:pt>
                <c:pt idx="75">
                  <c:v>55454.873267348557</c:v>
                </c:pt>
                <c:pt idx="76">
                  <c:v>56601.958477124172</c:v>
                </c:pt>
                <c:pt idx="77">
                  <c:v>57781.928472994572</c:v>
                </c:pt>
                <c:pt idx="78">
                  <c:v>58997.623598669394</c:v>
                </c:pt>
                <c:pt idx="79">
                  <c:v>60249.629563303773</c:v>
                </c:pt>
                <c:pt idx="80">
                  <c:v>61537.679567395346</c:v>
                </c:pt>
                <c:pt idx="81">
                  <c:v>62859.938124945511</c:v>
                </c:pt>
                <c:pt idx="82">
                  <c:v>64215.96576145773</c:v>
                </c:pt>
                <c:pt idx="83">
                  <c:v>65607.555267018804</c:v>
                </c:pt>
                <c:pt idx="84">
                  <c:v>67037.05502781432</c:v>
                </c:pt>
                <c:pt idx="85">
                  <c:v>68505.546118424725</c:v>
                </c:pt>
                <c:pt idx="86">
                  <c:v>70012.862874525978</c:v>
                </c:pt>
                <c:pt idx="87">
                  <c:v>71559.182789442275</c:v>
                </c:pt>
                <c:pt idx="88">
                  <c:v>73145.576621536195</c:v>
                </c:pt>
                <c:pt idx="89">
                  <c:v>74773.668897250114</c:v>
                </c:pt>
                <c:pt idx="90">
                  <c:v>76444.833175251159</c:v>
                </c:pt>
                <c:pt idx="91">
                  <c:v>78160.142774456079</c:v>
                </c:pt>
                <c:pt idx="92">
                  <c:v>79920.276043135382</c:v>
                </c:pt>
                <c:pt idx="93">
                  <c:v>81726.021849865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9</c:v>
                </c:pt>
                <c:pt idx="1">
                  <c:v>115</c:v>
                </c:pt>
                <c:pt idx="2">
                  <c:v>190</c:v>
                </c:pt>
                <c:pt idx="3">
                  <c:v>291</c:v>
                </c:pt>
                <c:pt idx="4">
                  <c:v>399</c:v>
                </c:pt>
                <c:pt idx="5">
                  <c:v>484</c:v>
                </c:pt>
                <c:pt idx="6">
                  <c:v>577</c:v>
                </c:pt>
                <c:pt idx="7">
                  <c:v>659</c:v>
                </c:pt>
                <c:pt idx="8">
                  <c:v>726</c:v>
                </c:pt>
                <c:pt idx="9">
                  <c:v>775</c:v>
                </c:pt>
                <c:pt idx="10">
                  <c:v>868</c:v>
                </c:pt>
                <c:pt idx="11">
                  <c:v>969</c:v>
                </c:pt>
                <c:pt idx="12">
                  <c:v>1052</c:v>
                </c:pt>
                <c:pt idx="13">
                  <c:v>1118</c:v>
                </c:pt>
                <c:pt idx="14">
                  <c:v>1176</c:v>
                </c:pt>
                <c:pt idx="15">
                  <c:v>1240</c:v>
                </c:pt>
                <c:pt idx="16">
                  <c:v>1271</c:v>
                </c:pt>
                <c:pt idx="17">
                  <c:v>1350</c:v>
                </c:pt>
                <c:pt idx="18">
                  <c:v>1429</c:v>
                </c:pt>
                <c:pt idx="19">
                  <c:v>1505</c:v>
                </c:pt>
                <c:pt idx="20">
                  <c:v>1570</c:v>
                </c:pt>
                <c:pt idx="21">
                  <c:v>1632</c:v>
                </c:pt>
                <c:pt idx="22">
                  <c:v>1691</c:v>
                </c:pt>
                <c:pt idx="23">
                  <c:v>1732</c:v>
                </c:pt>
                <c:pt idx="24">
                  <c:v>1797</c:v>
                </c:pt>
                <c:pt idx="25">
                  <c:v>1892</c:v>
                </c:pt>
                <c:pt idx="26">
                  <c:v>1982</c:v>
                </c:pt>
                <c:pt idx="27">
                  <c:v>2031</c:v>
                </c:pt>
                <c:pt idx="28">
                  <c:v>2112</c:v>
                </c:pt>
                <c:pt idx="29">
                  <c:v>2165</c:v>
                </c:pt>
                <c:pt idx="30">
                  <c:v>2224</c:v>
                </c:pt>
                <c:pt idx="31">
                  <c:v>2327</c:v>
                </c:pt>
                <c:pt idx="32">
                  <c:v>2443</c:v>
                </c:pt>
                <c:pt idx="33">
                  <c:v>2545</c:v>
                </c:pt>
                <c:pt idx="34">
                  <c:v>2653</c:v>
                </c:pt>
                <c:pt idx="35">
                  <c:v>2714</c:v>
                </c:pt>
                <c:pt idx="36">
                  <c:v>2789</c:v>
                </c:pt>
                <c:pt idx="37">
                  <c:v>2841</c:v>
                </c:pt>
                <c:pt idx="38">
                  <c:v>2923</c:v>
                </c:pt>
                <c:pt idx="39">
                  <c:v>3027</c:v>
                </c:pt>
                <c:pt idx="40">
                  <c:v>3096</c:v>
                </c:pt>
                <c:pt idx="41">
                  <c:v>3180</c:v>
                </c:pt>
                <c:pt idx="42">
                  <c:v>3257</c:v>
                </c:pt>
                <c:pt idx="43">
                  <c:v>3315</c:v>
                </c:pt>
                <c:pt idx="44">
                  <c:v>3392</c:v>
                </c:pt>
                <c:pt idx="45">
                  <c:v>3475</c:v>
                </c:pt>
                <c:pt idx="46">
                  <c:v>3559</c:v>
                </c:pt>
                <c:pt idx="47">
                  <c:v>3651</c:v>
                </c:pt>
                <c:pt idx="48">
                  <c:v>3747</c:v>
                </c:pt>
                <c:pt idx="49">
                  <c:v>3850</c:v>
                </c:pt>
                <c:pt idx="50">
                  <c:v>3927</c:v>
                </c:pt>
                <c:pt idx="51">
                  <c:v>4004</c:v>
                </c:pt>
                <c:pt idx="52">
                  <c:v>4105</c:v>
                </c:pt>
                <c:pt idx="53">
                  <c:v>4222</c:v>
                </c:pt>
                <c:pt idx="54">
                  <c:v>4311</c:v>
                </c:pt>
                <c:pt idx="55">
                  <c:v>4475</c:v>
                </c:pt>
                <c:pt idx="56">
                  <c:v>4579</c:v>
                </c:pt>
                <c:pt idx="57">
                  <c:v>4687</c:v>
                </c:pt>
                <c:pt idx="58">
                  <c:v>4767</c:v>
                </c:pt>
                <c:pt idx="59">
                  <c:v>4905</c:v>
                </c:pt>
                <c:pt idx="60">
                  <c:v>5044</c:v>
                </c:pt>
                <c:pt idx="61">
                  <c:v>5152</c:v>
                </c:pt>
                <c:pt idx="62">
                  <c:v>5250</c:v>
                </c:pt>
                <c:pt idx="63">
                  <c:v>5363</c:v>
                </c:pt>
                <c:pt idx="64">
                  <c:v>5463</c:v>
                </c:pt>
                <c:pt idx="65">
                  <c:v>5547</c:v>
                </c:pt>
                <c:pt idx="66">
                  <c:v>5669</c:v>
                </c:pt>
                <c:pt idx="67">
                  <c:v>5790</c:v>
                </c:pt>
                <c:pt idx="68">
                  <c:v>5921</c:v>
                </c:pt>
                <c:pt idx="69">
                  <c:v>6041</c:v>
                </c:pt>
                <c:pt idx="70">
                  <c:v>6151</c:v>
                </c:pt>
                <c:pt idx="71">
                  <c:v>6263</c:v>
                </c:pt>
                <c:pt idx="72">
                  <c:v>6346</c:v>
                </c:pt>
                <c:pt idx="73">
                  <c:v>6472</c:v>
                </c:pt>
                <c:pt idx="74">
                  <c:v>6584</c:v>
                </c:pt>
                <c:pt idx="75">
                  <c:v>6697</c:v>
                </c:pt>
                <c:pt idx="76">
                  <c:v>6794</c:v>
                </c:pt>
                <c:pt idx="77">
                  <c:v>6890</c:v>
                </c:pt>
                <c:pt idx="78">
                  <c:v>6955</c:v>
                </c:pt>
                <c:pt idx="79">
                  <c:v>7045</c:v>
                </c:pt>
                <c:pt idx="80">
                  <c:v>7153</c:v>
                </c:pt>
                <c:pt idx="81">
                  <c:v>7249</c:v>
                </c:pt>
                <c:pt idx="82">
                  <c:v>7335</c:v>
                </c:pt>
                <c:pt idx="83">
                  <c:v>7424</c:v>
                </c:pt>
                <c:pt idx="84">
                  <c:v>7510</c:v>
                </c:pt>
                <c:pt idx="85">
                  <c:v>7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6137.948520787696</c:v>
                </c:pt>
                <c:pt idx="71">
                  <c:v>6242.1483990933575</c:v>
                </c:pt>
                <c:pt idx="72">
                  <c:v>6343.4890752851534</c:v>
                </c:pt>
                <c:pt idx="73">
                  <c:v>6442.0482767914427</c:v>
                </c:pt>
                <c:pt idx="74">
                  <c:v>6537.1776275720586</c:v>
                </c:pt>
                <c:pt idx="75">
                  <c:v>6629.2158389524338</c:v>
                </c:pt>
                <c:pt idx="76">
                  <c:v>6718.4480887816171</c:v>
                </c:pt>
                <c:pt idx="77">
                  <c:v>6804.8352013175645</c:v>
                </c:pt>
                <c:pt idx="78">
                  <c:v>6887.9825537378365</c:v>
                </c:pt>
                <c:pt idx="79">
                  <c:v>6967.8269366674131</c:v>
                </c:pt>
                <c:pt idx="80">
                  <c:v>7044.6118049952493</c:v>
                </c:pt>
                <c:pt idx="81">
                  <c:v>7118.5347693516705</c:v>
                </c:pt>
                <c:pt idx="82">
                  <c:v>7189.821111964613</c:v>
                </c:pt>
                <c:pt idx="83">
                  <c:v>7258.4943721565051</c:v>
                </c:pt>
                <c:pt idx="84">
                  <c:v>7324.5688502228659</c:v>
                </c:pt>
                <c:pt idx="85">
                  <c:v>7388.0769060363646</c:v>
                </c:pt>
                <c:pt idx="86">
                  <c:v>7449.1390506442294</c:v>
                </c:pt>
                <c:pt idx="87">
                  <c:v>7507.9142782061872</c:v>
                </c:pt>
                <c:pt idx="88">
                  <c:v>7564.5200976142305</c:v>
                </c:pt>
                <c:pt idx="89">
                  <c:v>7619.0299738910635</c:v>
                </c:pt>
                <c:pt idx="90">
                  <c:v>7671.4706041379204</c:v>
                </c:pt>
                <c:pt idx="91">
                  <c:v>7721.9020917976195</c:v>
                </c:pt>
                <c:pt idx="92">
                  <c:v>7770.4129539240748</c:v>
                </c:pt>
                <c:pt idx="93">
                  <c:v>7817.100241369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6144.2341568055635</c:v>
                </c:pt>
                <c:pt idx="71">
                  <c:v>6257.0459903130677</c:v>
                </c:pt>
                <c:pt idx="72">
                  <c:v>6368.7361783340712</c:v>
                </c:pt>
                <c:pt idx="73">
                  <c:v>6479.4955771877103</c:v>
                </c:pt>
                <c:pt idx="74">
                  <c:v>6588.7793688385937</c:v>
                </c:pt>
                <c:pt idx="75">
                  <c:v>6696.6310516504982</c:v>
                </c:pt>
                <c:pt idx="76">
                  <c:v>6803.1436563720927</c:v>
                </c:pt>
                <c:pt idx="77">
                  <c:v>6908.2750576271874</c:v>
                </c:pt>
                <c:pt idx="78">
                  <c:v>7011.6560266335664</c:v>
                </c:pt>
                <c:pt idx="79">
                  <c:v>7113.1744263454075</c:v>
                </c:pt>
                <c:pt idx="80">
                  <c:v>7212.9546800905355</c:v>
                </c:pt>
                <c:pt idx="81">
                  <c:v>7311.0448617276343</c:v>
                </c:pt>
                <c:pt idx="82">
                  <c:v>7407.5184531716013</c:v>
                </c:pt>
                <c:pt idx="83">
                  <c:v>7502.3472604096096</c:v>
                </c:pt>
                <c:pt idx="84">
                  <c:v>7595.4997873987422</c:v>
                </c:pt>
                <c:pt idx="85">
                  <c:v>7686.9578904541131</c:v>
                </c:pt>
                <c:pt idx="86">
                  <c:v>7776.7624424188925</c:v>
                </c:pt>
                <c:pt idx="87">
                  <c:v>7864.9922241529548</c:v>
                </c:pt>
                <c:pt idx="88">
                  <c:v>7951.6956579098423</c:v>
                </c:pt>
                <c:pt idx="89">
                  <c:v>8036.8879299281034</c:v>
                </c:pt>
                <c:pt idx="90">
                  <c:v>8120.5516053475167</c:v>
                </c:pt>
                <c:pt idx="91">
                  <c:v>8202.6977402181983</c:v>
                </c:pt>
                <c:pt idx="92">
                  <c:v>8283.3667699164107</c:v>
                </c:pt>
                <c:pt idx="93">
                  <c:v>8362.5928546982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6156.8054288413005</c:v>
                </c:pt>
                <c:pt idx="71">
                  <c:v>6287.2836729980208</c:v>
                </c:pt>
                <c:pt idx="72">
                  <c:v>6420.9156311232282</c:v>
                </c:pt>
                <c:pt idx="73">
                  <c:v>6558.3927103749538</c:v>
                </c:pt>
                <c:pt idx="74">
                  <c:v>6699.5323170746733</c:v>
                </c:pt>
                <c:pt idx="75">
                  <c:v>6843.6631420055492</c:v>
                </c:pt>
                <c:pt idx="76">
                  <c:v>6990.5954607493322</c:v>
                </c:pt>
                <c:pt idx="77">
                  <c:v>7140.6209271674816</c:v>
                </c:pt>
                <c:pt idx="78">
                  <c:v>7293.8589877352979</c:v>
                </c:pt>
                <c:pt idx="79">
                  <c:v>7450.3056235813874</c:v>
                </c:pt>
                <c:pt idx="80">
                  <c:v>7609.9417253642914</c:v>
                </c:pt>
                <c:pt idx="81">
                  <c:v>7772.5420551753659</c:v>
                </c:pt>
                <c:pt idx="82">
                  <c:v>7938.0256681476749</c:v>
                </c:pt>
                <c:pt idx="83">
                  <c:v>8106.510641174712</c:v>
                </c:pt>
                <c:pt idx="84">
                  <c:v>8278.1641680573648</c:v>
                </c:pt>
                <c:pt idx="85">
                  <c:v>8453.0496081733145</c:v>
                </c:pt>
                <c:pt idx="86">
                  <c:v>8631.1118411264397</c:v>
                </c:pt>
                <c:pt idx="87">
                  <c:v>8812.3496924950523</c:v>
                </c:pt>
                <c:pt idx="88">
                  <c:v>8996.823626372985</c:v>
                </c:pt>
                <c:pt idx="89">
                  <c:v>9184.632252775762</c:v>
                </c:pt>
                <c:pt idx="90">
                  <c:v>9375.853330049993</c:v>
                </c:pt>
                <c:pt idx="91">
                  <c:v>9570.5368550733056</c:v>
                </c:pt>
                <c:pt idx="92">
                  <c:v>9768.7008545818971</c:v>
                </c:pt>
                <c:pt idx="93">
                  <c:v>9970.3813874845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6159.9455811861044</c:v>
                </c:pt>
                <c:pt idx="71">
                  <c:v>6294.9317799103874</c:v>
                </c:pt>
                <c:pt idx="72">
                  <c:v>6434.3100507226964</c:v>
                </c:pt>
                <c:pt idx="73">
                  <c:v>6578.9431912616374</c:v>
                </c:pt>
                <c:pt idx="74">
                  <c:v>6728.782430143061</c:v>
                </c:pt>
                <c:pt idx="75">
                  <c:v>6882.9593010391472</c:v>
                </c:pt>
                <c:pt idx="76">
                  <c:v>7041.2477326561921</c:v>
                </c:pt>
                <c:pt idx="77">
                  <c:v>7204.1005631852349</c:v>
                </c:pt>
                <c:pt idx="78">
                  <c:v>7371.8904946796547</c:v>
                </c:pt>
                <c:pt idx="79">
                  <c:v>7544.6966817350076</c:v>
                </c:pt>
                <c:pt idx="80">
                  <c:v>7722.4891334306958</c:v>
                </c:pt>
                <c:pt idx="81">
                  <c:v>7905.0036494434053</c:v>
                </c:pt>
                <c:pt idx="82">
                  <c:v>8092.1830813179822</c:v>
                </c:pt>
                <c:pt idx="83">
                  <c:v>8284.2760616699215</c:v>
                </c:pt>
                <c:pt idx="84">
                  <c:v>8481.6031573561886</c:v>
                </c:pt>
                <c:pt idx="85">
                  <c:v>8684.3097289215511</c:v>
                </c:pt>
                <c:pt idx="86">
                  <c:v>8892.3750691176538</c:v>
                </c:pt>
                <c:pt idx="87">
                  <c:v>9105.8258497847291</c:v>
                </c:pt>
                <c:pt idx="88">
                  <c:v>9324.8095681824107</c:v>
                </c:pt>
                <c:pt idx="89">
                  <c:v>9549.5496976590985</c:v>
                </c:pt>
                <c:pt idx="90">
                  <c:v>9780.2364883764858</c:v>
                </c:pt>
                <c:pt idx="91">
                  <c:v>10017.016104480039</c:v>
                </c:pt>
                <c:pt idx="92">
                  <c:v>10259.982187210491</c:v>
                </c:pt>
                <c:pt idx="93">
                  <c:v>10509.245243204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7</c:v>
                </c:pt>
                <c:pt idx="1">
                  <c:v>124</c:v>
                </c:pt>
                <c:pt idx="2">
                  <c:v>189</c:v>
                </c:pt>
                <c:pt idx="3">
                  <c:v>276</c:v>
                </c:pt>
                <c:pt idx="4">
                  <c:v>353</c:v>
                </c:pt>
                <c:pt idx="5">
                  <c:v>445</c:v>
                </c:pt>
                <c:pt idx="6">
                  <c:v>529</c:v>
                </c:pt>
                <c:pt idx="7">
                  <c:v>602</c:v>
                </c:pt>
                <c:pt idx="8">
                  <c:v>669</c:v>
                </c:pt>
                <c:pt idx="9">
                  <c:v>719</c:v>
                </c:pt>
                <c:pt idx="10">
                  <c:v>804</c:v>
                </c:pt>
                <c:pt idx="11">
                  <c:v>884</c:v>
                </c:pt>
                <c:pt idx="12">
                  <c:v>953</c:v>
                </c:pt>
                <c:pt idx="13">
                  <c:v>1006</c:v>
                </c:pt>
                <c:pt idx="14">
                  <c:v>1068</c:v>
                </c:pt>
                <c:pt idx="15">
                  <c:v>1106</c:v>
                </c:pt>
                <c:pt idx="16">
                  <c:v>1145</c:v>
                </c:pt>
                <c:pt idx="17">
                  <c:v>1203</c:v>
                </c:pt>
                <c:pt idx="18">
                  <c:v>1255</c:v>
                </c:pt>
                <c:pt idx="19">
                  <c:v>1309</c:v>
                </c:pt>
                <c:pt idx="20">
                  <c:v>1356</c:v>
                </c:pt>
                <c:pt idx="21">
                  <c:v>1403</c:v>
                </c:pt>
                <c:pt idx="22">
                  <c:v>1439</c:v>
                </c:pt>
                <c:pt idx="23">
                  <c:v>1477</c:v>
                </c:pt>
                <c:pt idx="24">
                  <c:v>1532</c:v>
                </c:pt>
                <c:pt idx="25">
                  <c:v>1582</c:v>
                </c:pt>
                <c:pt idx="26">
                  <c:v>1645</c:v>
                </c:pt>
                <c:pt idx="27">
                  <c:v>1712</c:v>
                </c:pt>
                <c:pt idx="28">
                  <c:v>1766</c:v>
                </c:pt>
                <c:pt idx="29">
                  <c:v>1811</c:v>
                </c:pt>
                <c:pt idx="30">
                  <c:v>1842</c:v>
                </c:pt>
                <c:pt idx="31">
                  <c:v>1923</c:v>
                </c:pt>
                <c:pt idx="32">
                  <c:v>1980</c:v>
                </c:pt>
                <c:pt idx="33">
                  <c:v>2037</c:v>
                </c:pt>
                <c:pt idx="34">
                  <c:v>2107</c:v>
                </c:pt>
                <c:pt idx="35">
                  <c:v>2167</c:v>
                </c:pt>
                <c:pt idx="36">
                  <c:v>2219</c:v>
                </c:pt>
                <c:pt idx="37">
                  <c:v>2269</c:v>
                </c:pt>
                <c:pt idx="38">
                  <c:v>2337</c:v>
                </c:pt>
                <c:pt idx="39">
                  <c:v>2397</c:v>
                </c:pt>
                <c:pt idx="40">
                  <c:v>2460</c:v>
                </c:pt>
                <c:pt idx="41">
                  <c:v>2531</c:v>
                </c:pt>
                <c:pt idx="42">
                  <c:v>2586</c:v>
                </c:pt>
                <c:pt idx="43">
                  <c:v>2637</c:v>
                </c:pt>
                <c:pt idx="44">
                  <c:v>2695</c:v>
                </c:pt>
                <c:pt idx="45">
                  <c:v>2787</c:v>
                </c:pt>
                <c:pt idx="46">
                  <c:v>2869</c:v>
                </c:pt>
                <c:pt idx="47">
                  <c:v>2955</c:v>
                </c:pt>
                <c:pt idx="48">
                  <c:v>3045</c:v>
                </c:pt>
                <c:pt idx="49">
                  <c:v>3123</c:v>
                </c:pt>
                <c:pt idx="50">
                  <c:v>3193</c:v>
                </c:pt>
                <c:pt idx="51">
                  <c:v>3261</c:v>
                </c:pt>
                <c:pt idx="52">
                  <c:v>3360</c:v>
                </c:pt>
                <c:pt idx="53">
                  <c:v>3432</c:v>
                </c:pt>
                <c:pt idx="54">
                  <c:v>3526</c:v>
                </c:pt>
                <c:pt idx="55">
                  <c:v>3613</c:v>
                </c:pt>
                <c:pt idx="56">
                  <c:v>3711</c:v>
                </c:pt>
                <c:pt idx="57">
                  <c:v>3781</c:v>
                </c:pt>
                <c:pt idx="58">
                  <c:v>3860</c:v>
                </c:pt>
                <c:pt idx="59">
                  <c:v>3975</c:v>
                </c:pt>
                <c:pt idx="60">
                  <c:v>4066</c:v>
                </c:pt>
                <c:pt idx="61">
                  <c:v>4161</c:v>
                </c:pt>
                <c:pt idx="62">
                  <c:v>4267</c:v>
                </c:pt>
                <c:pt idx="63">
                  <c:v>4363</c:v>
                </c:pt>
                <c:pt idx="64">
                  <c:v>4458</c:v>
                </c:pt>
                <c:pt idx="65">
                  <c:v>4532</c:v>
                </c:pt>
                <c:pt idx="66">
                  <c:v>4658</c:v>
                </c:pt>
                <c:pt idx="67">
                  <c:v>4761</c:v>
                </c:pt>
                <c:pt idx="68">
                  <c:v>4893</c:v>
                </c:pt>
                <c:pt idx="69">
                  <c:v>5002</c:v>
                </c:pt>
                <c:pt idx="70">
                  <c:v>5116</c:v>
                </c:pt>
                <c:pt idx="71">
                  <c:v>5213</c:v>
                </c:pt>
                <c:pt idx="72">
                  <c:v>5283</c:v>
                </c:pt>
                <c:pt idx="73">
                  <c:v>5398</c:v>
                </c:pt>
                <c:pt idx="74">
                  <c:v>5497</c:v>
                </c:pt>
                <c:pt idx="75">
                  <c:v>5578</c:v>
                </c:pt>
                <c:pt idx="76">
                  <c:v>5673</c:v>
                </c:pt>
                <c:pt idx="77">
                  <c:v>5758</c:v>
                </c:pt>
                <c:pt idx="78">
                  <c:v>5813</c:v>
                </c:pt>
                <c:pt idx="79">
                  <c:v>5882</c:v>
                </c:pt>
                <c:pt idx="80">
                  <c:v>5966</c:v>
                </c:pt>
                <c:pt idx="81">
                  <c:v>6044</c:v>
                </c:pt>
                <c:pt idx="82">
                  <c:v>6130</c:v>
                </c:pt>
                <c:pt idx="83">
                  <c:v>6188</c:v>
                </c:pt>
                <c:pt idx="84">
                  <c:v>6250</c:v>
                </c:pt>
                <c:pt idx="85">
                  <c:v>6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046.3928641402636</c:v>
                </c:pt>
                <c:pt idx="71">
                  <c:v>5121.7925153348151</c:v>
                </c:pt>
                <c:pt idx="72">
                  <c:v>5195.1128563453258</c:v>
                </c:pt>
                <c:pt idx="73">
                  <c:v>5266.3956362013496</c:v>
                </c:pt>
                <c:pt idx="74">
                  <c:v>5335.1760162792571</c:v>
                </c:pt>
                <c:pt idx="75">
                  <c:v>5401.7138479006044</c:v>
                </c:pt>
                <c:pt idx="76">
                  <c:v>5466.2210754779344</c:v>
                </c:pt>
                <c:pt idx="77">
                  <c:v>5528.6737316143362</c:v>
                </c:pt>
                <c:pt idx="78">
                  <c:v>5588.7871509800789</c:v>
                </c:pt>
                <c:pt idx="79">
                  <c:v>5646.5128991665724</c:v>
                </c:pt>
                <c:pt idx="80">
                  <c:v>5702.0250097342541</c:v>
                </c:pt>
                <c:pt idx="81">
                  <c:v>5755.469091535695</c:v>
                </c:pt>
                <c:pt idx="82">
                  <c:v>5807.0078880351639</c:v>
                </c:pt>
                <c:pt idx="83">
                  <c:v>5856.6567761156066</c:v>
                </c:pt>
                <c:pt idx="84">
                  <c:v>5904.4261309525145</c:v>
                </c:pt>
                <c:pt idx="85">
                  <c:v>5950.3403592749455</c:v>
                </c:pt>
                <c:pt idx="86">
                  <c:v>5994.4866237238184</c:v>
                </c:pt>
                <c:pt idx="87">
                  <c:v>6036.9798539309695</c:v>
                </c:pt>
                <c:pt idx="88">
                  <c:v>6077.9051241643892</c:v>
                </c:pt>
                <c:pt idx="89">
                  <c:v>6117.3149032766914</c:v>
                </c:pt>
                <c:pt idx="90">
                  <c:v>6155.2280431912532</c:v>
                </c:pt>
                <c:pt idx="91">
                  <c:v>6191.6887799627802</c:v>
                </c:pt>
                <c:pt idx="92">
                  <c:v>6226.761354477916</c:v>
                </c:pt>
                <c:pt idx="93">
                  <c:v>6260.5157471481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050.9672054105285</c:v>
                </c:pt>
                <c:pt idx="71">
                  <c:v>5132.6342834933921</c:v>
                </c:pt>
                <c:pt idx="72">
                  <c:v>5213.4835246903749</c:v>
                </c:pt>
                <c:pt idx="73">
                  <c:v>5293.6366087064171</c:v>
                </c:pt>
                <c:pt idx="74">
                  <c:v>5372.702973508246</c:v>
                </c:pt>
                <c:pt idx="75">
                  <c:v>5450.7255227219812</c:v>
                </c:pt>
                <c:pt idx="76">
                  <c:v>5527.7754903823788</c:v>
                </c:pt>
                <c:pt idx="77">
                  <c:v>5603.8252915959774</c:v>
                </c:pt>
                <c:pt idx="78">
                  <c:v>5678.6102559060046</c:v>
                </c:pt>
                <c:pt idx="79">
                  <c:v>5752.0475176292539</c:v>
                </c:pt>
                <c:pt idx="80">
                  <c:v>5824.2249914330259</c:v>
                </c:pt>
                <c:pt idx="81">
                  <c:v>5895.1808684345397</c:v>
                </c:pt>
                <c:pt idx="82">
                  <c:v>5964.9677430627162</c:v>
                </c:pt>
                <c:pt idx="83">
                  <c:v>6033.5637934240049</c:v>
                </c:pt>
                <c:pt idx="84">
                  <c:v>6100.9465164547537</c:v>
                </c:pt>
                <c:pt idx="85">
                  <c:v>6167.1039790764789</c:v>
                </c:pt>
                <c:pt idx="86">
                  <c:v>6232.0656607638357</c:v>
                </c:pt>
                <c:pt idx="87">
                  <c:v>6295.8883914424623</c:v>
                </c:pt>
                <c:pt idx="88">
                  <c:v>6358.6072903892227</c:v>
                </c:pt>
                <c:pt idx="89">
                  <c:v>6420.2328649623432</c:v>
                </c:pt>
                <c:pt idx="90">
                  <c:v>6480.7520592800893</c:v>
                </c:pt>
                <c:pt idx="91">
                  <c:v>6540.1736761646389</c:v>
                </c:pt>
                <c:pt idx="92">
                  <c:v>6598.5272271000194</c:v>
                </c:pt>
                <c:pt idx="93">
                  <c:v>6655.8371008701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060.1158879510594</c:v>
                </c:pt>
                <c:pt idx="71">
                  <c:v>5154.6398472282153</c:v>
                </c:pt>
                <c:pt idx="72">
                  <c:v>5251.4512998364971</c:v>
                </c:pt>
                <c:pt idx="73">
                  <c:v>5351.0311929569998</c:v>
                </c:pt>
                <c:pt idx="74">
                  <c:v>5453.2499234317975</c:v>
                </c:pt>
                <c:pt idx="75">
                  <c:v>5557.6253159416492</c:v>
                </c:pt>
                <c:pt idx="76">
                  <c:v>5664.0202236027126</c:v>
                </c:pt>
                <c:pt idx="77">
                  <c:v>5772.6462134011217</c:v>
                </c:pt>
                <c:pt idx="78">
                  <c:v>5883.5964240705898</c:v>
                </c:pt>
                <c:pt idx="79">
                  <c:v>5996.8681630514748</c:v>
                </c:pt>
                <c:pt idx="80">
                  <c:v>6112.4450249721012</c:v>
                </c:pt>
                <c:pt idx="81">
                  <c:v>6230.1682383185362</c:v>
                </c:pt>
                <c:pt idx="82">
                  <c:v>6349.9779084122338</c:v>
                </c:pt>
                <c:pt idx="83">
                  <c:v>6471.958789893456</c:v>
                </c:pt>
                <c:pt idx="84">
                  <c:v>6596.233086070577</c:v>
                </c:pt>
                <c:pt idx="85">
                  <c:v>6722.8482170858642</c:v>
                </c:pt>
                <c:pt idx="86">
                  <c:v>6851.7635886394874</c:v>
                </c:pt>
                <c:pt idx="87">
                  <c:v>6982.9776734851239</c:v>
                </c:pt>
                <c:pt idx="88">
                  <c:v>7116.5343443815</c:v>
                </c:pt>
                <c:pt idx="89">
                  <c:v>7252.5050837941917</c:v>
                </c:pt>
                <c:pt idx="90">
                  <c:v>7390.9458792984933</c:v>
                </c:pt>
                <c:pt idx="91">
                  <c:v>7531.8937481668017</c:v>
                </c:pt>
                <c:pt idx="92">
                  <c:v>7675.3618038917602</c:v>
                </c:pt>
                <c:pt idx="93">
                  <c:v>7821.3756027216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062.4011186619891</c:v>
                </c:pt>
                <c:pt idx="71">
                  <c:v>5160.2057790957324</c:v>
                </c:pt>
                <c:pt idx="72">
                  <c:v>5261.1976345745825</c:v>
                </c:pt>
                <c:pt idx="73">
                  <c:v>5365.9810654259136</c:v>
                </c:pt>
                <c:pt idx="74">
                  <c:v>5474.5230942738463</c:v>
                </c:pt>
                <c:pt idx="75">
                  <c:v>5586.1967108057543</c:v>
                </c:pt>
                <c:pt idx="76">
                  <c:v>5700.8374868738865</c:v>
                </c:pt>
                <c:pt idx="77">
                  <c:v>5818.7731770166156</c:v>
                </c:pt>
                <c:pt idx="78">
                  <c:v>5940.281579768206</c:v>
                </c:pt>
                <c:pt idx="79">
                  <c:v>6065.4207052868442</c:v>
                </c:pt>
                <c:pt idx="80">
                  <c:v>6194.1660417319636</c:v>
                </c:pt>
                <c:pt idx="81">
                  <c:v>6326.3307058352329</c:v>
                </c:pt>
                <c:pt idx="82">
                  <c:v>6461.8718783990707</c:v>
                </c:pt>
                <c:pt idx="83">
                  <c:v>6600.9691242709578</c:v>
                </c:pt>
                <c:pt idx="84">
                  <c:v>6743.8560423766139</c:v>
                </c:pt>
                <c:pt idx="85">
                  <c:v>6890.6394720123062</c:v>
                </c:pt>
                <c:pt idx="86">
                  <c:v>7041.3035355078009</c:v>
                </c:pt>
                <c:pt idx="87">
                  <c:v>7195.8666589294671</c:v>
                </c:pt>
                <c:pt idx="88">
                  <c:v>7354.4357732987201</c:v>
                </c:pt>
                <c:pt idx="89">
                  <c:v>7517.1730151736556</c:v>
                </c:pt>
                <c:pt idx="90">
                  <c:v>7684.2158832747482</c:v>
                </c:pt>
                <c:pt idx="91">
                  <c:v>7855.6710327024211</c:v>
                </c:pt>
                <c:pt idx="92">
                  <c:v>8031.6062691628485</c:v>
                </c:pt>
                <c:pt idx="93">
                  <c:v>8212.1009529988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55</c:v>
                </c:pt>
                <c:pt idx="2">
                  <c:v>95</c:v>
                </c:pt>
                <c:pt idx="3">
                  <c:v>143</c:v>
                </c:pt>
                <c:pt idx="4">
                  <c:v>205</c:v>
                </c:pt>
                <c:pt idx="5">
                  <c:v>274</c:v>
                </c:pt>
                <c:pt idx="6">
                  <c:v>304</c:v>
                </c:pt>
                <c:pt idx="7">
                  <c:v>365</c:v>
                </c:pt>
                <c:pt idx="8">
                  <c:v>399</c:v>
                </c:pt>
                <c:pt idx="9">
                  <c:v>417</c:v>
                </c:pt>
                <c:pt idx="10">
                  <c:v>470</c:v>
                </c:pt>
                <c:pt idx="11">
                  <c:v>540</c:v>
                </c:pt>
                <c:pt idx="12">
                  <c:v>570</c:v>
                </c:pt>
                <c:pt idx="13">
                  <c:v>603</c:v>
                </c:pt>
                <c:pt idx="14">
                  <c:v>664</c:v>
                </c:pt>
                <c:pt idx="15">
                  <c:v>697</c:v>
                </c:pt>
                <c:pt idx="16">
                  <c:v>718</c:v>
                </c:pt>
                <c:pt idx="17">
                  <c:v>748</c:v>
                </c:pt>
                <c:pt idx="18">
                  <c:v>802</c:v>
                </c:pt>
                <c:pt idx="19">
                  <c:v>845</c:v>
                </c:pt>
                <c:pt idx="20">
                  <c:v>871</c:v>
                </c:pt>
                <c:pt idx="21">
                  <c:v>922</c:v>
                </c:pt>
                <c:pt idx="22">
                  <c:v>952</c:v>
                </c:pt>
                <c:pt idx="23">
                  <c:v>973</c:v>
                </c:pt>
                <c:pt idx="24">
                  <c:v>1010</c:v>
                </c:pt>
                <c:pt idx="25">
                  <c:v>1051</c:v>
                </c:pt>
                <c:pt idx="26">
                  <c:v>1075</c:v>
                </c:pt>
                <c:pt idx="27">
                  <c:v>1104</c:v>
                </c:pt>
                <c:pt idx="28">
                  <c:v>1141</c:v>
                </c:pt>
                <c:pt idx="29">
                  <c:v>1158</c:v>
                </c:pt>
                <c:pt idx="30">
                  <c:v>1179</c:v>
                </c:pt>
                <c:pt idx="31">
                  <c:v>1217</c:v>
                </c:pt>
                <c:pt idx="32">
                  <c:v>1247</c:v>
                </c:pt>
                <c:pt idx="33">
                  <c:v>1285</c:v>
                </c:pt>
                <c:pt idx="34">
                  <c:v>1320</c:v>
                </c:pt>
                <c:pt idx="35">
                  <c:v>1356</c:v>
                </c:pt>
                <c:pt idx="36">
                  <c:v>1386</c:v>
                </c:pt>
                <c:pt idx="37">
                  <c:v>1405</c:v>
                </c:pt>
                <c:pt idx="38">
                  <c:v>1430</c:v>
                </c:pt>
                <c:pt idx="39">
                  <c:v>1469</c:v>
                </c:pt>
                <c:pt idx="40">
                  <c:v>1514</c:v>
                </c:pt>
                <c:pt idx="41">
                  <c:v>1549</c:v>
                </c:pt>
                <c:pt idx="42">
                  <c:v>1595</c:v>
                </c:pt>
                <c:pt idx="43">
                  <c:v>1622</c:v>
                </c:pt>
                <c:pt idx="44">
                  <c:v>1638</c:v>
                </c:pt>
                <c:pt idx="45">
                  <c:v>1674</c:v>
                </c:pt>
                <c:pt idx="46">
                  <c:v>1727</c:v>
                </c:pt>
                <c:pt idx="47">
                  <c:v>1775</c:v>
                </c:pt>
                <c:pt idx="48">
                  <c:v>1805</c:v>
                </c:pt>
                <c:pt idx="49">
                  <c:v>1852</c:v>
                </c:pt>
                <c:pt idx="50">
                  <c:v>1891</c:v>
                </c:pt>
                <c:pt idx="51">
                  <c:v>1921</c:v>
                </c:pt>
                <c:pt idx="52">
                  <c:v>1963</c:v>
                </c:pt>
                <c:pt idx="53">
                  <c:v>2018</c:v>
                </c:pt>
                <c:pt idx="54">
                  <c:v>2067</c:v>
                </c:pt>
                <c:pt idx="55">
                  <c:v>2110</c:v>
                </c:pt>
                <c:pt idx="56">
                  <c:v>2172</c:v>
                </c:pt>
                <c:pt idx="57">
                  <c:v>2209</c:v>
                </c:pt>
                <c:pt idx="58">
                  <c:v>2259</c:v>
                </c:pt>
                <c:pt idx="59">
                  <c:v>2338</c:v>
                </c:pt>
                <c:pt idx="60">
                  <c:v>2391</c:v>
                </c:pt>
                <c:pt idx="61">
                  <c:v>2454</c:v>
                </c:pt>
                <c:pt idx="62">
                  <c:v>2511</c:v>
                </c:pt>
                <c:pt idx="63">
                  <c:v>2588</c:v>
                </c:pt>
                <c:pt idx="64">
                  <c:v>2642</c:v>
                </c:pt>
                <c:pt idx="65">
                  <c:v>2690</c:v>
                </c:pt>
                <c:pt idx="66">
                  <c:v>2742</c:v>
                </c:pt>
                <c:pt idx="67">
                  <c:v>2809</c:v>
                </c:pt>
                <c:pt idx="68">
                  <c:v>2864</c:v>
                </c:pt>
                <c:pt idx="69">
                  <c:v>2937</c:v>
                </c:pt>
                <c:pt idx="70">
                  <c:v>2996</c:v>
                </c:pt>
                <c:pt idx="71">
                  <c:v>3061</c:v>
                </c:pt>
                <c:pt idx="72">
                  <c:v>3120</c:v>
                </c:pt>
                <c:pt idx="73">
                  <c:v>3196</c:v>
                </c:pt>
                <c:pt idx="74">
                  <c:v>3272</c:v>
                </c:pt>
                <c:pt idx="75">
                  <c:v>3348</c:v>
                </c:pt>
                <c:pt idx="76">
                  <c:v>3413</c:v>
                </c:pt>
                <c:pt idx="77">
                  <c:v>3489</c:v>
                </c:pt>
                <c:pt idx="78">
                  <c:v>3520</c:v>
                </c:pt>
                <c:pt idx="79">
                  <c:v>3555</c:v>
                </c:pt>
                <c:pt idx="80">
                  <c:v>3607</c:v>
                </c:pt>
                <c:pt idx="81">
                  <c:v>3674</c:v>
                </c:pt>
                <c:pt idx="82">
                  <c:v>3720</c:v>
                </c:pt>
                <c:pt idx="83">
                  <c:v>3775</c:v>
                </c:pt>
                <c:pt idx="84">
                  <c:v>3841</c:v>
                </c:pt>
                <c:pt idx="85">
                  <c:v>3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984.1661689484936</c:v>
                </c:pt>
                <c:pt idx="71">
                  <c:v>3034.9867526204757</c:v>
                </c:pt>
                <c:pt idx="72">
                  <c:v>3084.4006892546299</c:v>
                </c:pt>
                <c:pt idx="73">
                  <c:v>3132.4289112607416</c:v>
                </c:pt>
                <c:pt idx="74">
                  <c:v>3178.760262893476</c:v>
                </c:pt>
                <c:pt idx="75">
                  <c:v>3223.5772259195387</c:v>
                </c:pt>
                <c:pt idx="76">
                  <c:v>3267.0254327415109</c:v>
                </c:pt>
                <c:pt idx="77">
                  <c:v>3309.0909069423551</c:v>
                </c:pt>
                <c:pt idx="78">
                  <c:v>3349.5822200643802</c:v>
                </c:pt>
                <c:pt idx="79">
                  <c:v>3388.4653861800771</c:v>
                </c:pt>
                <c:pt idx="80">
                  <c:v>3425.8566467404144</c:v>
                </c:pt>
                <c:pt idx="81">
                  <c:v>3461.8554454877431</c:v>
                </c:pt>
                <c:pt idx="82">
                  <c:v>3496.571338858394</c:v>
                </c:pt>
                <c:pt idx="83">
                  <c:v>3530.0138675798348</c:v>
                </c:pt>
                <c:pt idx="84">
                  <c:v>3562.1900383100469</c:v>
                </c:pt>
                <c:pt idx="85">
                  <c:v>3593.1167942842394</c:v>
                </c:pt>
                <c:pt idx="86">
                  <c:v>3622.8528647078647</c:v>
                </c:pt>
                <c:pt idx="87">
                  <c:v>3651.4756545999353</c:v>
                </c:pt>
                <c:pt idx="88">
                  <c:v>3679.0425273369437</c:v>
                </c:pt>
                <c:pt idx="89">
                  <c:v>3705.5885042615087</c:v>
                </c:pt>
                <c:pt idx="90">
                  <c:v>3731.1260600450187</c:v>
                </c:pt>
                <c:pt idx="91">
                  <c:v>3755.6853808510932</c:v>
                </c:pt>
                <c:pt idx="92">
                  <c:v>3779.309860258114</c:v>
                </c:pt>
                <c:pt idx="93">
                  <c:v>3802.04654379936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987.2622852554605</c:v>
                </c:pt>
                <c:pt idx="71">
                  <c:v>3042.3249987642089</c:v>
                </c:pt>
                <c:pt idx="72">
                  <c:v>3096.8333905159684</c:v>
                </c:pt>
                <c:pt idx="73">
                  <c:v>3150.861307834512</c:v>
                </c:pt>
                <c:pt idx="74">
                  <c:v>3204.1473311334607</c:v>
                </c:pt>
                <c:pt idx="75">
                  <c:v>3256.7260602833167</c:v>
                </c:pt>
                <c:pt idx="76">
                  <c:v>3308.6474554782817</c:v>
                </c:pt>
                <c:pt idx="77">
                  <c:v>3359.89436462086</c:v>
                </c:pt>
                <c:pt idx="78">
                  <c:v>3410.2896414053739</c:v>
                </c:pt>
                <c:pt idx="79">
                  <c:v>3459.7765764966639</c:v>
                </c:pt>
                <c:pt idx="80">
                  <c:v>3508.4133723092691</c:v>
                </c:pt>
                <c:pt idx="81">
                  <c:v>3556.2274630806796</c:v>
                </c:pt>
                <c:pt idx="82">
                  <c:v>3603.2540111546364</c:v>
                </c:pt>
                <c:pt idx="83">
                  <c:v>3649.4776019111769</c:v>
                </c:pt>
                <c:pt idx="84">
                  <c:v>3694.8832109502159</c:v>
                </c:pt>
                <c:pt idx="85">
                  <c:v>3739.4633897518602</c:v>
                </c:pt>
                <c:pt idx="86">
                  <c:v>3783.2379600482404</c:v>
                </c:pt>
                <c:pt idx="87">
                  <c:v>3826.2451384329115</c:v>
                </c:pt>
                <c:pt idx="88">
                  <c:v>3868.5086359646493</c:v>
                </c:pt>
                <c:pt idx="89">
                  <c:v>3910.0352953672555</c:v>
                </c:pt>
                <c:pt idx="90">
                  <c:v>3950.8160980345474</c:v>
                </c:pt>
                <c:pt idx="91">
                  <c:v>3990.857376273907</c:v>
                </c:pt>
                <c:pt idx="92">
                  <c:v>4030.1791467025823</c:v>
                </c:pt>
                <c:pt idx="93">
                  <c:v>4068.7976837838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993.4545178693961</c:v>
                </c:pt>
                <c:pt idx="71">
                  <c:v>3057.2194534380019</c:v>
                </c:pt>
                <c:pt idx="72">
                  <c:v>3122.5289048897062</c:v>
                </c:pt>
                <c:pt idx="73">
                  <c:v>3189.697412767161</c:v>
                </c:pt>
                <c:pt idx="74">
                  <c:v>3258.6388767742319</c:v>
                </c:pt>
                <c:pt idx="75">
                  <c:v>3329.0300869639832</c:v>
                </c:pt>
                <c:pt idx="76">
                  <c:v>3400.7786731493698</c:v>
                </c:pt>
                <c:pt idx="77">
                  <c:v>3474.0274956966673</c:v>
                </c:pt>
                <c:pt idx="78">
                  <c:v>3548.8426662079546</c:v>
                </c:pt>
                <c:pt idx="79">
                  <c:v>3625.2224770137736</c:v>
                </c:pt>
                <c:pt idx="80">
                  <c:v>3703.1545889417257</c:v>
                </c:pt>
                <c:pt idx="81">
                  <c:v>3782.5340816764578</c:v>
                </c:pt>
                <c:pt idx="82">
                  <c:v>3863.3199276755822</c:v>
                </c:pt>
                <c:pt idx="83">
                  <c:v>3945.568911598687</c:v>
                </c:pt>
                <c:pt idx="84">
                  <c:v>4029.3640074892801</c:v>
                </c:pt>
                <c:pt idx="85">
                  <c:v>4114.7379593669957</c:v>
                </c:pt>
                <c:pt idx="86">
                  <c:v>4201.6630535659151</c:v>
                </c:pt>
                <c:pt idx="87">
                  <c:v>4290.1379238710042</c:v>
                </c:pt>
                <c:pt idx="88">
                  <c:v>4380.1922011853721</c:v>
                </c:pt>
                <c:pt idx="89">
                  <c:v>4471.8741293266739</c:v>
                </c:pt>
                <c:pt idx="90">
                  <c:v>4565.2213061893544</c:v>
                </c:pt>
                <c:pt idx="91">
                  <c:v>4660.2590992922305</c:v>
                </c:pt>
                <c:pt idx="92">
                  <c:v>4756.9963817679818</c:v>
                </c:pt>
                <c:pt idx="93">
                  <c:v>4855.4501123389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995.0012629964558</c:v>
                </c:pt>
                <c:pt idx="71">
                  <c:v>3060.986751237695</c:v>
                </c:pt>
                <c:pt idx="72">
                  <c:v>3129.1249679873727</c:v>
                </c:pt>
                <c:pt idx="73">
                  <c:v>3199.8133583448016</c:v>
                </c:pt>
                <c:pt idx="74">
                  <c:v>3273.0308455219501</c:v>
                </c:pt>
                <c:pt idx="75">
                  <c:v>3348.3555190262123</c:v>
                </c:pt>
                <c:pt idx="76">
                  <c:v>3425.6761331651974</c:v>
                </c:pt>
                <c:pt idx="77">
                  <c:v>3505.2136386439902</c:v>
                </c:pt>
                <c:pt idx="78">
                  <c:v>3587.159308126596</c:v>
                </c:pt>
                <c:pt idx="79">
                  <c:v>3671.5526060649263</c:v>
                </c:pt>
                <c:pt idx="80">
                  <c:v>3758.3756137965529</c:v>
                </c:pt>
                <c:pt idx="81">
                  <c:v>3847.5045038418693</c:v>
                </c:pt>
                <c:pt idx="82">
                  <c:v>3938.9096863371833</c:v>
                </c:pt>
                <c:pt idx="83">
                  <c:v>4032.712018264262</c:v>
                </c:pt>
                <c:pt idx="84">
                  <c:v>4129.0697619410921</c:v>
                </c:pt>
                <c:pt idx="85">
                  <c:v>4228.0557519384247</c:v>
                </c:pt>
                <c:pt idx="86">
                  <c:v>4329.6588420491771</c:v>
                </c:pt>
                <c:pt idx="87">
                  <c:v>4433.891017256904</c:v>
                </c:pt>
                <c:pt idx="88">
                  <c:v>4540.8244508019534</c:v>
                </c:pt>
                <c:pt idx="89">
                  <c:v>4650.5686391049103</c:v>
                </c:pt>
                <c:pt idx="90">
                  <c:v>4763.2161752788506</c:v>
                </c:pt>
                <c:pt idx="91">
                  <c:v>4878.8393890340121</c:v>
                </c:pt>
                <c:pt idx="92">
                  <c:v>4997.4840055571658</c:v>
                </c:pt>
                <c:pt idx="93">
                  <c:v>5119.2032152240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72</c:v>
                </c:pt>
                <c:pt idx="1">
                  <c:v>605</c:v>
                </c:pt>
                <c:pt idx="2">
                  <c:v>649</c:v>
                </c:pt>
                <c:pt idx="3">
                  <c:v>803</c:v>
                </c:pt>
                <c:pt idx="4">
                  <c:v>839</c:v>
                </c:pt>
                <c:pt idx="5">
                  <c:v>842</c:v>
                </c:pt>
                <c:pt idx="6">
                  <c:v>854</c:v>
                </c:pt>
                <c:pt idx="7">
                  <c:v>848</c:v>
                </c:pt>
                <c:pt idx="8">
                  <c:v>797</c:v>
                </c:pt>
                <c:pt idx="9">
                  <c:v>797</c:v>
                </c:pt>
                <c:pt idx="10">
                  <c:v>850</c:v>
                </c:pt>
                <c:pt idx="11">
                  <c:v>861</c:v>
                </c:pt>
                <c:pt idx="12">
                  <c:v>851</c:v>
                </c:pt>
                <c:pt idx="13">
                  <c:v>849</c:v>
                </c:pt>
                <c:pt idx="14">
                  <c:v>815</c:v>
                </c:pt>
                <c:pt idx="15">
                  <c:v>770</c:v>
                </c:pt>
                <c:pt idx="16">
                  <c:v>748</c:v>
                </c:pt>
                <c:pt idx="17">
                  <c:v>781</c:v>
                </c:pt>
                <c:pt idx="18">
                  <c:v>780</c:v>
                </c:pt>
                <c:pt idx="19">
                  <c:v>758</c:v>
                </c:pt>
                <c:pt idx="20">
                  <c:v>748</c:v>
                </c:pt>
                <c:pt idx="21">
                  <c:v>722</c:v>
                </c:pt>
                <c:pt idx="22">
                  <c:v>699</c:v>
                </c:pt>
                <c:pt idx="23">
                  <c:v>682</c:v>
                </c:pt>
                <c:pt idx="24">
                  <c:v>719</c:v>
                </c:pt>
                <c:pt idx="25">
                  <c:v>750</c:v>
                </c:pt>
                <c:pt idx="26">
                  <c:v>770</c:v>
                </c:pt>
                <c:pt idx="27">
                  <c:v>748</c:v>
                </c:pt>
                <c:pt idx="28">
                  <c:v>769</c:v>
                </c:pt>
                <c:pt idx="29">
                  <c:v>708</c:v>
                </c:pt>
                <c:pt idx="30">
                  <c:v>714</c:v>
                </c:pt>
                <c:pt idx="31">
                  <c:v>785</c:v>
                </c:pt>
                <c:pt idx="32">
                  <c:v>827</c:v>
                </c:pt>
                <c:pt idx="33">
                  <c:v>855</c:v>
                </c:pt>
                <c:pt idx="34">
                  <c:v>869</c:v>
                </c:pt>
                <c:pt idx="35">
                  <c:v>863</c:v>
                </c:pt>
                <c:pt idx="36">
                  <c:v>857</c:v>
                </c:pt>
                <c:pt idx="37">
                  <c:v>861</c:v>
                </c:pt>
                <c:pt idx="38">
                  <c:v>913</c:v>
                </c:pt>
                <c:pt idx="39">
                  <c:v>942</c:v>
                </c:pt>
                <c:pt idx="40">
                  <c:v>898</c:v>
                </c:pt>
                <c:pt idx="41">
                  <c:v>917</c:v>
                </c:pt>
                <c:pt idx="42">
                  <c:v>885</c:v>
                </c:pt>
                <c:pt idx="43">
                  <c:v>846</c:v>
                </c:pt>
                <c:pt idx="44">
                  <c:v>860</c:v>
                </c:pt>
                <c:pt idx="45">
                  <c:v>910</c:v>
                </c:pt>
                <c:pt idx="46">
                  <c:v>916</c:v>
                </c:pt>
                <c:pt idx="47">
                  <c:v>915</c:v>
                </c:pt>
                <c:pt idx="48">
                  <c:v>913</c:v>
                </c:pt>
                <c:pt idx="49">
                  <c:v>933</c:v>
                </c:pt>
                <c:pt idx="50">
                  <c:v>904</c:v>
                </c:pt>
                <c:pt idx="51">
                  <c:v>909</c:v>
                </c:pt>
                <c:pt idx="52">
                  <c:v>983</c:v>
                </c:pt>
                <c:pt idx="53">
                  <c:v>994</c:v>
                </c:pt>
                <c:pt idx="54">
                  <c:v>984</c:v>
                </c:pt>
                <c:pt idx="55">
                  <c:v>1061</c:v>
                </c:pt>
                <c:pt idx="56">
                  <c:v>1051</c:v>
                </c:pt>
                <c:pt idx="57">
                  <c:v>1020</c:v>
                </c:pt>
                <c:pt idx="58">
                  <c:v>1053</c:v>
                </c:pt>
                <c:pt idx="59">
                  <c:v>1143</c:v>
                </c:pt>
                <c:pt idx="60">
                  <c:v>1182</c:v>
                </c:pt>
                <c:pt idx="61">
                  <c:v>1167</c:v>
                </c:pt>
                <c:pt idx="62">
                  <c:v>1149</c:v>
                </c:pt>
                <c:pt idx="63">
                  <c:v>1160</c:v>
                </c:pt>
                <c:pt idx="64">
                  <c:v>1138</c:v>
                </c:pt>
                <c:pt idx="65">
                  <c:v>1140</c:v>
                </c:pt>
                <c:pt idx="66">
                  <c:v>1213</c:v>
                </c:pt>
                <c:pt idx="67">
                  <c:v>1208</c:v>
                </c:pt>
                <c:pt idx="68">
                  <c:v>1225</c:v>
                </c:pt>
                <c:pt idx="69">
                  <c:v>1205</c:v>
                </c:pt>
                <c:pt idx="70">
                  <c:v>1197</c:v>
                </c:pt>
                <c:pt idx="71">
                  <c:v>1195</c:v>
                </c:pt>
                <c:pt idx="72">
                  <c:v>1202</c:v>
                </c:pt>
                <c:pt idx="73">
                  <c:v>1265</c:v>
                </c:pt>
                <c:pt idx="74">
                  <c:v>1268</c:v>
                </c:pt>
                <c:pt idx="75">
                  <c:v>1255</c:v>
                </c:pt>
                <c:pt idx="76">
                  <c:v>1215</c:v>
                </c:pt>
                <c:pt idx="77">
                  <c:v>1210</c:v>
                </c:pt>
                <c:pt idx="78">
                  <c:v>1158</c:v>
                </c:pt>
                <c:pt idx="79">
                  <c:v>1167</c:v>
                </c:pt>
                <c:pt idx="80">
                  <c:v>1217</c:v>
                </c:pt>
                <c:pt idx="81">
                  <c:v>1206</c:v>
                </c:pt>
                <c:pt idx="82">
                  <c:v>1159</c:v>
                </c:pt>
                <c:pt idx="83">
                  <c:v>1141</c:v>
                </c:pt>
                <c:pt idx="84">
                  <c:v>1127</c:v>
                </c:pt>
                <c:pt idx="85">
                  <c:v>107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226.8117131523707</c:v>
                </c:pt>
                <c:pt idx="71">
                  <c:v>1212.6885020338989</c:v>
                </c:pt>
                <c:pt idx="72">
                  <c:v>1196.798939293647</c:v>
                </c:pt>
                <c:pt idx="73">
                  <c:v>1178.8248817637743</c:v>
                </c:pt>
                <c:pt idx="74">
                  <c:v>1158.1795124679286</c:v>
                </c:pt>
                <c:pt idx="75">
                  <c:v>1135.9596931439896</c:v>
                </c:pt>
                <c:pt idx="76">
                  <c:v>1112.4621255332236</c:v>
                </c:pt>
                <c:pt idx="77">
                  <c:v>1087.4160802318106</c:v>
                </c:pt>
                <c:pt idx="78">
                  <c:v>1060.9199159321518</c:v>
                </c:pt>
                <c:pt idx="79">
                  <c:v>1033.3241787296995</c:v>
                </c:pt>
                <c:pt idx="80">
                  <c:v>1004.9370187395125</c:v>
                </c:pt>
                <c:pt idx="81">
                  <c:v>975.92746242713224</c:v>
                </c:pt>
                <c:pt idx="82">
                  <c:v>946.7825272009087</c:v>
                </c:pt>
                <c:pt idx="83">
                  <c:v>917.65613429603684</c:v>
                </c:pt>
                <c:pt idx="84">
                  <c:v>888.76635933620639</c:v>
                </c:pt>
                <c:pt idx="85">
                  <c:v>860.17919305394366</c:v>
                </c:pt>
                <c:pt idx="86">
                  <c:v>831.8867410479163</c:v>
                </c:pt>
                <c:pt idx="87">
                  <c:v>803.6884357157071</c:v>
                </c:pt>
                <c:pt idx="88">
                  <c:v>775.71833414101536</c:v>
                </c:pt>
                <c:pt idx="89">
                  <c:v>748.27804906207734</c:v>
                </c:pt>
                <c:pt idx="90">
                  <c:v>721.46630190796429</c:v>
                </c:pt>
                <c:pt idx="91">
                  <c:v>695.38357664110413</c:v>
                </c:pt>
                <c:pt idx="92">
                  <c:v>669.9952869839924</c:v>
                </c:pt>
                <c:pt idx="93">
                  <c:v>645.34925564185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233.0366003766608</c:v>
                </c:pt>
                <c:pt idx="71">
                  <c:v>1227.2430391827556</c:v>
                </c:pt>
                <c:pt idx="72">
                  <c:v>1221.0404359298982</c:v>
                </c:pt>
                <c:pt idx="73">
                  <c:v>1214.0892037418052</c:v>
                </c:pt>
                <c:pt idx="74">
                  <c:v>1205.7859385097709</c:v>
                </c:pt>
                <c:pt idx="75">
                  <c:v>1196.8285420118245</c:v>
                </c:pt>
                <c:pt idx="76">
                  <c:v>1187.2202899116505</c:v>
                </c:pt>
                <c:pt idx="77">
                  <c:v>1176.5770938268056</c:v>
                </c:pt>
                <c:pt idx="78">
                  <c:v>1164.9283624910988</c:v>
                </c:pt>
                <c:pt idx="79">
                  <c:v>1152.5114983608355</c:v>
                </c:pt>
                <c:pt idx="80">
                  <c:v>1139.4092957074472</c:v>
                </c:pt>
                <c:pt idx="81">
                  <c:v>1125.4969372324324</c:v>
                </c:pt>
                <c:pt idx="82">
                  <c:v>1111.0879365245755</c:v>
                </c:pt>
                <c:pt idx="83">
                  <c:v>1096.3095946892513</c:v>
                </c:pt>
                <c:pt idx="84">
                  <c:v>1081.3427940166971</c:v>
                </c:pt>
                <c:pt idx="85">
                  <c:v>1066.1994590596548</c:v>
                </c:pt>
                <c:pt idx="86">
                  <c:v>1050.8259816347986</c:v>
                </c:pt>
                <c:pt idx="87">
                  <c:v>1034.992105659029</c:v>
                </c:pt>
                <c:pt idx="88">
                  <c:v>1018.8185453368176</c:v>
                </c:pt>
                <c:pt idx="89">
                  <c:v>1002.5879764116919</c:v>
                </c:pt>
                <c:pt idx="90">
                  <c:v>986.37971212453726</c:v>
                </c:pt>
                <c:pt idx="91">
                  <c:v>970.26691070471998</c:v>
                </c:pt>
                <c:pt idx="92">
                  <c:v>954.20992130319598</c:v>
                </c:pt>
                <c:pt idx="93">
                  <c:v>938.26608969698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245.4863748252403</c:v>
                </c:pt>
                <c:pt idx="71">
                  <c:v>1256.7903370933748</c:v>
                </c:pt>
                <c:pt idx="72">
                  <c:v>1271.1783739976572</c:v>
                </c:pt>
                <c:pt idx="73">
                  <c:v>1288.5079232164057</c:v>
                </c:pt>
                <c:pt idx="74">
                  <c:v>1308.2472765203861</c:v>
                </c:pt>
                <c:pt idx="75">
                  <c:v>1330.1117453585091</c:v>
                </c:pt>
                <c:pt idx="76">
                  <c:v>1353.5555871492525</c:v>
                </c:pt>
                <c:pt idx="77">
                  <c:v>1378.2380796895527</c:v>
                </c:pt>
                <c:pt idx="78">
                  <c:v>1404.4047245523595</c:v>
                </c:pt>
                <c:pt idx="79">
                  <c:v>1432.1705142462481</c:v>
                </c:pt>
                <c:pt idx="80">
                  <c:v>1461.1462432551382</c:v>
                </c:pt>
                <c:pt idx="81">
                  <c:v>1490.5189828392372</c:v>
                </c:pt>
                <c:pt idx="82">
                  <c:v>1520.2678925562955</c:v>
                </c:pt>
                <c:pt idx="83">
                  <c:v>1550.573884659289</c:v>
                </c:pt>
                <c:pt idx="84">
                  <c:v>1581.6849117529082</c:v>
                </c:pt>
                <c:pt idx="85">
                  <c:v>1613.5342693952371</c:v>
                </c:pt>
                <c:pt idx="86">
                  <c:v>1645.8862111378262</c:v>
                </c:pt>
                <c:pt idx="87">
                  <c:v>1678.3750006921696</c:v>
                </c:pt>
                <c:pt idx="88">
                  <c:v>1711.0839954750854</c:v>
                </c:pt>
                <c:pt idx="89">
                  <c:v>1744.2960456406474</c:v>
                </c:pt>
                <c:pt idx="90">
                  <c:v>1778.0761973981098</c:v>
                </c:pt>
                <c:pt idx="91">
                  <c:v>1812.4220944649062</c:v>
                </c:pt>
                <c:pt idx="92">
                  <c:v>1847.1981896546947</c:v>
                </c:pt>
                <c:pt idx="93">
                  <c:v>1882.4468595217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248.5961785361026</c:v>
                </c:pt>
                <c:pt idx="71">
                  <c:v>1264.2650751107822</c:v>
                </c:pt>
                <c:pt idx="72">
                  <c:v>1284.0563506545811</c:v>
                </c:pt>
                <c:pt idx="73">
                  <c:v>1307.9157982297727</c:v>
                </c:pt>
                <c:pt idx="74">
                  <c:v>1335.3625384213144</c:v>
                </c:pt>
                <c:pt idx="75">
                  <c:v>1365.8351477407923</c:v>
                </c:pt>
                <c:pt idx="76">
                  <c:v>1398.6712552082977</c:v>
                </c:pt>
                <c:pt idx="77">
                  <c:v>1433.6032714165449</c:v>
                </c:pt>
                <c:pt idx="78">
                  <c:v>1471.0425489025195</c:v>
                </c:pt>
                <c:pt idx="79">
                  <c:v>1511.1053440379092</c:v>
                </c:pt>
                <c:pt idx="80">
                  <c:v>1553.2813667864934</c:v>
                </c:pt>
                <c:pt idx="81">
                  <c:v>1596.5839088291655</c:v>
                </c:pt>
                <c:pt idx="82">
                  <c:v>1640.9363983686549</c:v>
                </c:pt>
                <c:pt idx="83">
                  <c:v>1686.5898135104203</c:v>
                </c:pt>
                <c:pt idx="84">
                  <c:v>1733.8721181783392</c:v>
                </c:pt>
                <c:pt idx="85">
                  <c:v>1782.7148596219372</c:v>
                </c:pt>
                <c:pt idx="86">
                  <c:v>1832.8491189191113</c:v>
                </c:pt>
                <c:pt idx="87">
                  <c:v>1883.8746272805365</c:v>
                </c:pt>
                <c:pt idx="88">
                  <c:v>1935.8979264871675</c:v>
                </c:pt>
                <c:pt idx="89">
                  <c:v>1989.2513565969934</c:v>
                </c:pt>
                <c:pt idx="90">
                  <c:v>2044.0286639904566</c:v>
                </c:pt>
                <c:pt idx="91">
                  <c:v>2100.2364238726132</c:v>
                </c:pt>
                <c:pt idx="92">
                  <c:v>2157.7345019591949</c:v>
                </c:pt>
                <c:pt idx="93">
                  <c:v>2216.5702130234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65</c:v>
                </c:pt>
                <c:pt idx="1">
                  <c:v>865</c:v>
                </c:pt>
                <c:pt idx="2">
                  <c:v>865</c:v>
                </c:pt>
                <c:pt idx="3">
                  <c:v>865</c:v>
                </c:pt>
                <c:pt idx="4">
                  <c:v>865</c:v>
                </c:pt>
                <c:pt idx="5">
                  <c:v>865</c:v>
                </c:pt>
                <c:pt idx="6">
                  <c:v>865</c:v>
                </c:pt>
                <c:pt idx="7">
                  <c:v>865</c:v>
                </c:pt>
                <c:pt idx="8">
                  <c:v>865</c:v>
                </c:pt>
                <c:pt idx="9">
                  <c:v>865</c:v>
                </c:pt>
                <c:pt idx="10">
                  <c:v>865</c:v>
                </c:pt>
                <c:pt idx="11">
                  <c:v>865</c:v>
                </c:pt>
                <c:pt idx="12">
                  <c:v>865</c:v>
                </c:pt>
                <c:pt idx="13">
                  <c:v>865</c:v>
                </c:pt>
                <c:pt idx="14">
                  <c:v>865</c:v>
                </c:pt>
                <c:pt idx="15">
                  <c:v>865</c:v>
                </c:pt>
                <c:pt idx="16">
                  <c:v>865</c:v>
                </c:pt>
                <c:pt idx="17">
                  <c:v>865</c:v>
                </c:pt>
                <c:pt idx="18">
                  <c:v>865</c:v>
                </c:pt>
                <c:pt idx="19">
                  <c:v>865</c:v>
                </c:pt>
                <c:pt idx="20">
                  <c:v>865</c:v>
                </c:pt>
                <c:pt idx="21">
                  <c:v>865</c:v>
                </c:pt>
                <c:pt idx="22">
                  <c:v>865</c:v>
                </c:pt>
                <c:pt idx="23">
                  <c:v>865</c:v>
                </c:pt>
                <c:pt idx="24">
                  <c:v>865</c:v>
                </c:pt>
                <c:pt idx="25">
                  <c:v>865</c:v>
                </c:pt>
                <c:pt idx="26">
                  <c:v>865</c:v>
                </c:pt>
                <c:pt idx="27">
                  <c:v>865</c:v>
                </c:pt>
                <c:pt idx="28">
                  <c:v>865</c:v>
                </c:pt>
                <c:pt idx="29">
                  <c:v>865</c:v>
                </c:pt>
                <c:pt idx="30">
                  <c:v>865</c:v>
                </c:pt>
                <c:pt idx="31">
                  <c:v>865</c:v>
                </c:pt>
                <c:pt idx="32">
                  <c:v>865</c:v>
                </c:pt>
                <c:pt idx="33">
                  <c:v>865</c:v>
                </c:pt>
                <c:pt idx="34">
                  <c:v>865</c:v>
                </c:pt>
                <c:pt idx="35">
                  <c:v>865</c:v>
                </c:pt>
                <c:pt idx="36">
                  <c:v>865</c:v>
                </c:pt>
                <c:pt idx="37">
                  <c:v>865</c:v>
                </c:pt>
                <c:pt idx="38">
                  <c:v>865</c:v>
                </c:pt>
                <c:pt idx="39">
                  <c:v>865</c:v>
                </c:pt>
                <c:pt idx="40">
                  <c:v>865</c:v>
                </c:pt>
                <c:pt idx="41">
                  <c:v>865</c:v>
                </c:pt>
                <c:pt idx="42">
                  <c:v>865</c:v>
                </c:pt>
                <c:pt idx="43">
                  <c:v>865</c:v>
                </c:pt>
                <c:pt idx="44">
                  <c:v>865</c:v>
                </c:pt>
                <c:pt idx="45">
                  <c:v>865</c:v>
                </c:pt>
                <c:pt idx="46">
                  <c:v>865</c:v>
                </c:pt>
                <c:pt idx="47">
                  <c:v>865</c:v>
                </c:pt>
                <c:pt idx="48">
                  <c:v>865</c:v>
                </c:pt>
                <c:pt idx="49">
                  <c:v>865</c:v>
                </c:pt>
                <c:pt idx="50">
                  <c:v>865</c:v>
                </c:pt>
                <c:pt idx="51">
                  <c:v>865</c:v>
                </c:pt>
                <c:pt idx="52">
                  <c:v>865</c:v>
                </c:pt>
                <c:pt idx="53">
                  <c:v>865</c:v>
                </c:pt>
                <c:pt idx="54">
                  <c:v>865</c:v>
                </c:pt>
                <c:pt idx="55">
                  <c:v>865</c:v>
                </c:pt>
                <c:pt idx="56">
                  <c:v>865</c:v>
                </c:pt>
                <c:pt idx="57">
                  <c:v>865</c:v>
                </c:pt>
                <c:pt idx="58">
                  <c:v>865</c:v>
                </c:pt>
                <c:pt idx="59">
                  <c:v>865</c:v>
                </c:pt>
                <c:pt idx="60">
                  <c:v>865</c:v>
                </c:pt>
                <c:pt idx="61">
                  <c:v>865</c:v>
                </c:pt>
                <c:pt idx="62">
                  <c:v>865</c:v>
                </c:pt>
                <c:pt idx="63">
                  <c:v>865</c:v>
                </c:pt>
                <c:pt idx="64">
                  <c:v>865</c:v>
                </c:pt>
                <c:pt idx="65">
                  <c:v>865</c:v>
                </c:pt>
                <c:pt idx="66">
                  <c:v>865</c:v>
                </c:pt>
                <c:pt idx="67">
                  <c:v>865</c:v>
                </c:pt>
                <c:pt idx="68">
                  <c:v>865</c:v>
                </c:pt>
                <c:pt idx="69">
                  <c:v>865</c:v>
                </c:pt>
                <c:pt idx="70">
                  <c:v>865</c:v>
                </c:pt>
                <c:pt idx="71">
                  <c:v>865</c:v>
                </c:pt>
                <c:pt idx="72">
                  <c:v>865</c:v>
                </c:pt>
                <c:pt idx="73">
                  <c:v>865</c:v>
                </c:pt>
                <c:pt idx="74">
                  <c:v>865</c:v>
                </c:pt>
                <c:pt idx="75">
                  <c:v>865</c:v>
                </c:pt>
                <c:pt idx="76">
                  <c:v>865</c:v>
                </c:pt>
                <c:pt idx="77">
                  <c:v>865</c:v>
                </c:pt>
                <c:pt idx="78">
                  <c:v>865</c:v>
                </c:pt>
                <c:pt idx="79">
                  <c:v>865</c:v>
                </c:pt>
                <c:pt idx="80">
                  <c:v>865</c:v>
                </c:pt>
                <c:pt idx="81">
                  <c:v>865</c:v>
                </c:pt>
                <c:pt idx="82">
                  <c:v>865</c:v>
                </c:pt>
                <c:pt idx="83">
                  <c:v>865</c:v>
                </c:pt>
                <c:pt idx="84">
                  <c:v>865</c:v>
                </c:pt>
                <c:pt idx="85">
                  <c:v>865</c:v>
                </c:pt>
                <c:pt idx="86">
                  <c:v>865</c:v>
                </c:pt>
                <c:pt idx="87">
                  <c:v>865</c:v>
                </c:pt>
                <c:pt idx="88">
                  <c:v>865</c:v>
                </c:pt>
                <c:pt idx="89">
                  <c:v>865</c:v>
                </c:pt>
                <c:pt idx="90">
                  <c:v>865</c:v>
                </c:pt>
                <c:pt idx="91">
                  <c:v>865</c:v>
                </c:pt>
                <c:pt idx="92">
                  <c:v>865</c:v>
                </c:pt>
                <c:pt idx="93">
                  <c:v>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2</c:v>
                </c:pt>
                <c:pt idx="2">
                  <c:v>71</c:v>
                </c:pt>
                <c:pt idx="3">
                  <c:v>113</c:v>
                </c:pt>
                <c:pt idx="4">
                  <c:v>163</c:v>
                </c:pt>
                <c:pt idx="5">
                  <c:v>198</c:v>
                </c:pt>
                <c:pt idx="6">
                  <c:v>237</c:v>
                </c:pt>
                <c:pt idx="7">
                  <c:v>266</c:v>
                </c:pt>
                <c:pt idx="8">
                  <c:v>294</c:v>
                </c:pt>
                <c:pt idx="9">
                  <c:v>316</c:v>
                </c:pt>
                <c:pt idx="10">
                  <c:v>352</c:v>
                </c:pt>
                <c:pt idx="11">
                  <c:v>397</c:v>
                </c:pt>
                <c:pt idx="12">
                  <c:v>438</c:v>
                </c:pt>
                <c:pt idx="13">
                  <c:v>472</c:v>
                </c:pt>
                <c:pt idx="14">
                  <c:v>506</c:v>
                </c:pt>
                <c:pt idx="15">
                  <c:v>516</c:v>
                </c:pt>
                <c:pt idx="16">
                  <c:v>544</c:v>
                </c:pt>
                <c:pt idx="17">
                  <c:v>574</c:v>
                </c:pt>
                <c:pt idx="18">
                  <c:v>625</c:v>
                </c:pt>
                <c:pt idx="19">
                  <c:v>668</c:v>
                </c:pt>
                <c:pt idx="20">
                  <c:v>710</c:v>
                </c:pt>
                <c:pt idx="21">
                  <c:v>750</c:v>
                </c:pt>
                <c:pt idx="22">
                  <c:v>776</c:v>
                </c:pt>
                <c:pt idx="23">
                  <c:v>794</c:v>
                </c:pt>
                <c:pt idx="24">
                  <c:v>827</c:v>
                </c:pt>
                <c:pt idx="25">
                  <c:v>865</c:v>
                </c:pt>
                <c:pt idx="26">
                  <c:v>893</c:v>
                </c:pt>
                <c:pt idx="27">
                  <c:v>930</c:v>
                </c:pt>
                <c:pt idx="28">
                  <c:v>979</c:v>
                </c:pt>
                <c:pt idx="29">
                  <c:v>1009</c:v>
                </c:pt>
                <c:pt idx="30">
                  <c:v>1043</c:v>
                </c:pt>
                <c:pt idx="31">
                  <c:v>1087</c:v>
                </c:pt>
                <c:pt idx="32">
                  <c:v>1123</c:v>
                </c:pt>
                <c:pt idx="33">
                  <c:v>1179</c:v>
                </c:pt>
                <c:pt idx="34">
                  <c:v>1225</c:v>
                </c:pt>
                <c:pt idx="35">
                  <c:v>1283</c:v>
                </c:pt>
                <c:pt idx="36">
                  <c:v>1319</c:v>
                </c:pt>
                <c:pt idx="37">
                  <c:v>1349</c:v>
                </c:pt>
                <c:pt idx="38">
                  <c:v>1406</c:v>
                </c:pt>
                <c:pt idx="39">
                  <c:v>1457</c:v>
                </c:pt>
                <c:pt idx="40">
                  <c:v>1513</c:v>
                </c:pt>
                <c:pt idx="41">
                  <c:v>1555</c:v>
                </c:pt>
                <c:pt idx="42">
                  <c:v>1608</c:v>
                </c:pt>
                <c:pt idx="43">
                  <c:v>1654</c:v>
                </c:pt>
                <c:pt idx="44">
                  <c:v>1699</c:v>
                </c:pt>
                <c:pt idx="45">
                  <c:v>1771</c:v>
                </c:pt>
                <c:pt idx="46">
                  <c:v>1823</c:v>
                </c:pt>
                <c:pt idx="47">
                  <c:v>1894</c:v>
                </c:pt>
                <c:pt idx="48">
                  <c:v>1942</c:v>
                </c:pt>
                <c:pt idx="49">
                  <c:v>2020</c:v>
                </c:pt>
                <c:pt idx="50">
                  <c:v>2068</c:v>
                </c:pt>
                <c:pt idx="51">
                  <c:v>2124</c:v>
                </c:pt>
                <c:pt idx="52">
                  <c:v>2205</c:v>
                </c:pt>
                <c:pt idx="53">
                  <c:v>2267</c:v>
                </c:pt>
                <c:pt idx="54">
                  <c:v>2341</c:v>
                </c:pt>
                <c:pt idx="55">
                  <c:v>2408</c:v>
                </c:pt>
                <c:pt idx="56">
                  <c:v>2508</c:v>
                </c:pt>
                <c:pt idx="57">
                  <c:v>2565</c:v>
                </c:pt>
                <c:pt idx="58">
                  <c:v>2617</c:v>
                </c:pt>
                <c:pt idx="59">
                  <c:v>2740</c:v>
                </c:pt>
                <c:pt idx="60">
                  <c:v>2845</c:v>
                </c:pt>
                <c:pt idx="61">
                  <c:v>2903</c:v>
                </c:pt>
                <c:pt idx="62">
                  <c:v>2976</c:v>
                </c:pt>
                <c:pt idx="63">
                  <c:v>3036</c:v>
                </c:pt>
                <c:pt idx="64">
                  <c:v>3091</c:v>
                </c:pt>
                <c:pt idx="65">
                  <c:v>3167</c:v>
                </c:pt>
                <c:pt idx="66">
                  <c:v>3241</c:v>
                </c:pt>
                <c:pt idx="67">
                  <c:v>3317</c:v>
                </c:pt>
                <c:pt idx="68">
                  <c:v>3403</c:v>
                </c:pt>
                <c:pt idx="69">
                  <c:v>3453</c:v>
                </c:pt>
                <c:pt idx="70">
                  <c:v>3515</c:v>
                </c:pt>
                <c:pt idx="71">
                  <c:v>3578</c:v>
                </c:pt>
                <c:pt idx="72">
                  <c:v>3627</c:v>
                </c:pt>
                <c:pt idx="73">
                  <c:v>3694</c:v>
                </c:pt>
                <c:pt idx="74">
                  <c:v>3758</c:v>
                </c:pt>
                <c:pt idx="75">
                  <c:v>3811</c:v>
                </c:pt>
                <c:pt idx="76">
                  <c:v>3847</c:v>
                </c:pt>
                <c:pt idx="77">
                  <c:v>3892</c:v>
                </c:pt>
                <c:pt idx="78">
                  <c:v>3947</c:v>
                </c:pt>
                <c:pt idx="79">
                  <c:v>3974</c:v>
                </c:pt>
                <c:pt idx="80">
                  <c:v>4032</c:v>
                </c:pt>
                <c:pt idx="81">
                  <c:v>4087</c:v>
                </c:pt>
                <c:pt idx="82">
                  <c:v>4131</c:v>
                </c:pt>
                <c:pt idx="83">
                  <c:v>4173</c:v>
                </c:pt>
                <c:pt idx="84">
                  <c:v>4199</c:v>
                </c:pt>
                <c:pt idx="85">
                  <c:v>4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502.1266810892134</c:v>
                </c:pt>
                <c:pt idx="71">
                  <c:v>3562.6473237829937</c:v>
                </c:pt>
                <c:pt idx="72">
                  <c:v>3621.4840503048717</c:v>
                </c:pt>
                <c:pt idx="73">
                  <c:v>3678.6495153371952</c:v>
                </c:pt>
                <c:pt idx="74">
                  <c:v>3733.7768396090905</c:v>
                </c:pt>
                <c:pt idx="75">
                  <c:v>3787.0958305257159</c:v>
                </c:pt>
                <c:pt idx="76">
                  <c:v>3838.7846485986829</c:v>
                </c:pt>
                <c:pt idx="77">
                  <c:v>3888.8303586837455</c:v>
                </c:pt>
                <c:pt idx="78">
                  <c:v>3937.005744882887</c:v>
                </c:pt>
                <c:pt idx="79">
                  <c:v>3983.2680519162068</c:v>
                </c:pt>
                <c:pt idx="80">
                  <c:v>4027.7539030350545</c:v>
                </c:pt>
                <c:pt idx="81">
                  <c:v>4070.5839382051349</c:v>
                </c:pt>
                <c:pt idx="82">
                  <c:v>4111.8883943725077</c:v>
                </c:pt>
                <c:pt idx="83">
                  <c:v>4151.6772308751924</c:v>
                </c:pt>
                <c:pt idx="84">
                  <c:v>4189.958814919959</c:v>
                </c:pt>
                <c:pt idx="85">
                  <c:v>4226.7541627087403</c:v>
                </c:pt>
                <c:pt idx="86">
                  <c:v>4262.1331792568717</c:v>
                </c:pt>
                <c:pt idx="87">
                  <c:v>4296.1879426082123</c:v>
                </c:pt>
                <c:pt idx="88">
                  <c:v>4328.986802382582</c:v>
                </c:pt>
                <c:pt idx="89">
                  <c:v>4360.5708794302627</c:v>
                </c:pt>
                <c:pt idx="90">
                  <c:v>4390.9546346616662</c:v>
                </c:pt>
                <c:pt idx="91">
                  <c:v>4420.1746465036222</c:v>
                </c:pt>
                <c:pt idx="92">
                  <c:v>4448.282751394886</c:v>
                </c:pt>
                <c:pt idx="93">
                  <c:v>4475.3347659606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505.8357785634889</c:v>
                </c:pt>
                <c:pt idx="71">
                  <c:v>3571.4385234642232</c:v>
                </c:pt>
                <c:pt idx="72">
                  <c:v>3636.3758879369093</c:v>
                </c:pt>
                <c:pt idx="73">
                  <c:v>3700.721907174865</c:v>
                </c:pt>
                <c:pt idx="74">
                  <c:v>3764.1683735011193</c:v>
                </c:pt>
                <c:pt idx="75">
                  <c:v>3826.7661669861282</c:v>
                </c:pt>
                <c:pt idx="76">
                  <c:v>3888.5780997462061</c:v>
                </c:pt>
                <c:pt idx="77">
                  <c:v>3949.5861990420603</c:v>
                </c:pt>
                <c:pt idx="78">
                  <c:v>4009.5816284713801</c:v>
                </c:pt>
                <c:pt idx="79">
                  <c:v>4068.4953960752773</c:v>
                </c:pt>
                <c:pt idx="80">
                  <c:v>4126.3950192840939</c:v>
                </c:pt>
                <c:pt idx="81">
                  <c:v>4183.3160513728508</c:v>
                </c:pt>
                <c:pt idx="82">
                  <c:v>4239.2998770828517</c:v>
                </c:pt>
                <c:pt idx="83">
                  <c:v>4294.32693684076</c:v>
                </c:pt>
                <c:pt idx="84">
                  <c:v>4348.3795821236154</c:v>
                </c:pt>
                <c:pt idx="85">
                  <c:v>4401.4499552184461</c:v>
                </c:pt>
                <c:pt idx="86">
                  <c:v>4453.5615796187649</c:v>
                </c:pt>
                <c:pt idx="87">
                  <c:v>4504.7598169331941</c:v>
                </c:pt>
                <c:pt idx="88">
                  <c:v>4555.0729722037895</c:v>
                </c:pt>
                <c:pt idx="89">
                  <c:v>4604.5087865299256</c:v>
                </c:pt>
                <c:pt idx="90">
                  <c:v>4653.0561474565184</c:v>
                </c:pt>
                <c:pt idx="91">
                  <c:v>4700.7232754989918</c:v>
                </c:pt>
                <c:pt idx="92">
                  <c:v>4747.5342213654494</c:v>
                </c:pt>
                <c:pt idx="93">
                  <c:v>4793.508086576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513.2539735120408</c:v>
                </c:pt>
                <c:pt idx="71">
                  <c:v>3589.2820382553223</c:v>
                </c:pt>
                <c:pt idx="72">
                  <c:v>3667.1540307980576</c:v>
                </c:pt>
                <c:pt idx="73">
                  <c:v>3747.2281360342599</c:v>
                </c:pt>
                <c:pt idx="74">
                  <c:v>3829.403955823494</c:v>
                </c:pt>
                <c:pt idx="75">
                  <c:v>3913.2996275687701</c:v>
                </c:pt>
                <c:pt idx="76">
                  <c:v>3998.8052680561409</c:v>
                </c:pt>
                <c:pt idx="77">
                  <c:v>4086.0914493406044</c:v>
                </c:pt>
                <c:pt idx="78">
                  <c:v>4175.2425801706222</c:v>
                </c:pt>
                <c:pt idx="79">
                  <c:v>4266.2568094187845</c:v>
                </c:pt>
                <c:pt idx="80">
                  <c:v>4359.117260152273</c:v>
                </c:pt>
                <c:pt idx="81">
                  <c:v>4453.7025523750099</c:v>
                </c:pt>
                <c:pt idx="82">
                  <c:v>4549.9627079029251</c:v>
                </c:pt>
                <c:pt idx="83">
                  <c:v>4647.9647685419204</c:v>
                </c:pt>
                <c:pt idx="84">
                  <c:v>4747.8085792161537</c:v>
                </c:pt>
                <c:pt idx="85">
                  <c:v>4849.5344655619356</c:v>
                </c:pt>
                <c:pt idx="86">
                  <c:v>4953.1088240479457</c:v>
                </c:pt>
                <c:pt idx="87">
                  <c:v>5058.5294541061667</c:v>
                </c:pt>
                <c:pt idx="88">
                  <c:v>5165.8317443491169</c:v>
                </c:pt>
                <c:pt idx="89">
                  <c:v>5275.0732549309741</c:v>
                </c:pt>
                <c:pt idx="90">
                  <c:v>5386.2985239223453</c:v>
                </c:pt>
                <c:pt idx="91">
                  <c:v>5499.5384712963532</c:v>
                </c:pt>
                <c:pt idx="92">
                  <c:v>5614.8037224145901</c:v>
                </c:pt>
                <c:pt idx="93">
                  <c:v>5732.1140188890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515.1069492646684</c:v>
                </c:pt>
                <c:pt idx="71">
                  <c:v>3593.7952497968399</c:v>
                </c:pt>
                <c:pt idx="72">
                  <c:v>3675.054843264124</c:v>
                </c:pt>
                <c:pt idx="73">
                  <c:v>3759.3421468098713</c:v>
                </c:pt>
                <c:pt idx="74">
                  <c:v>3846.6340199398428</c:v>
                </c:pt>
                <c:pt idx="75">
                  <c:v>3936.4292225113622</c:v>
                </c:pt>
                <c:pt idx="76">
                  <c:v>4028.5945629054791</c:v>
                </c:pt>
                <c:pt idx="77">
                  <c:v>4123.39323055767</c:v>
                </c:pt>
                <c:pt idx="78">
                  <c:v>4221.0598721698834</c:v>
                </c:pt>
                <c:pt idx="79">
                  <c:v>4321.642105719412</c:v>
                </c:pt>
                <c:pt idx="80">
                  <c:v>4425.1162129786153</c:v>
                </c:pt>
                <c:pt idx="81">
                  <c:v>4531.3383671608599</c:v>
                </c:pt>
                <c:pt idx="82">
                  <c:v>4640.272089146114</c:v>
                </c:pt>
                <c:pt idx="83">
                  <c:v>4752.0610097617791</c:v>
                </c:pt>
                <c:pt idx="84">
                  <c:v>4866.8949828883997</c:v>
                </c:pt>
                <c:pt idx="85">
                  <c:v>4984.8621467020594</c:v>
                </c:pt>
                <c:pt idx="86">
                  <c:v>5105.9484707586662</c:v>
                </c:pt>
                <c:pt idx="87">
                  <c:v>5230.167487714114</c:v>
                </c:pt>
                <c:pt idx="88">
                  <c:v>5357.6053167187329</c:v>
                </c:pt>
                <c:pt idx="89">
                  <c:v>5488.392717646836</c:v>
                </c:pt>
                <c:pt idx="90">
                  <c:v>5622.6398149767801</c:v>
                </c:pt>
                <c:pt idx="91">
                  <c:v>5760.4334973475598</c:v>
                </c:pt>
                <c:pt idx="92">
                  <c:v>5901.8282566963935</c:v>
                </c:pt>
                <c:pt idx="93">
                  <c:v>6046.8869252817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52</c:v>
                </c:pt>
                <c:pt idx="2">
                  <c:v>71</c:v>
                </c:pt>
                <c:pt idx="3">
                  <c:v>120</c:v>
                </c:pt>
                <c:pt idx="4">
                  <c:v>151</c:v>
                </c:pt>
                <c:pt idx="5">
                  <c:v>175</c:v>
                </c:pt>
                <c:pt idx="6">
                  <c:v>195</c:v>
                </c:pt>
                <c:pt idx="7">
                  <c:v>212</c:v>
                </c:pt>
                <c:pt idx="8">
                  <c:v>246</c:v>
                </c:pt>
                <c:pt idx="9">
                  <c:v>276</c:v>
                </c:pt>
                <c:pt idx="10">
                  <c:v>309</c:v>
                </c:pt>
                <c:pt idx="11">
                  <c:v>353</c:v>
                </c:pt>
                <c:pt idx="12">
                  <c:v>383</c:v>
                </c:pt>
                <c:pt idx="13">
                  <c:v>408</c:v>
                </c:pt>
                <c:pt idx="14">
                  <c:v>432</c:v>
                </c:pt>
                <c:pt idx="15">
                  <c:v>451</c:v>
                </c:pt>
                <c:pt idx="16">
                  <c:v>479</c:v>
                </c:pt>
                <c:pt idx="17">
                  <c:v>521</c:v>
                </c:pt>
                <c:pt idx="18">
                  <c:v>564</c:v>
                </c:pt>
                <c:pt idx="19">
                  <c:v>602</c:v>
                </c:pt>
                <c:pt idx="20">
                  <c:v>636</c:v>
                </c:pt>
                <c:pt idx="21">
                  <c:v>676</c:v>
                </c:pt>
                <c:pt idx="22">
                  <c:v>711</c:v>
                </c:pt>
                <c:pt idx="23">
                  <c:v>740</c:v>
                </c:pt>
                <c:pt idx="24">
                  <c:v>781</c:v>
                </c:pt>
                <c:pt idx="25">
                  <c:v>829</c:v>
                </c:pt>
                <c:pt idx="26">
                  <c:v>871</c:v>
                </c:pt>
                <c:pt idx="27">
                  <c:v>911</c:v>
                </c:pt>
                <c:pt idx="28">
                  <c:v>959</c:v>
                </c:pt>
                <c:pt idx="29">
                  <c:v>980</c:v>
                </c:pt>
                <c:pt idx="30">
                  <c:v>1009</c:v>
                </c:pt>
                <c:pt idx="31">
                  <c:v>1060</c:v>
                </c:pt>
                <c:pt idx="32">
                  <c:v>1099</c:v>
                </c:pt>
                <c:pt idx="33">
                  <c:v>1135</c:v>
                </c:pt>
                <c:pt idx="34">
                  <c:v>1190</c:v>
                </c:pt>
                <c:pt idx="35">
                  <c:v>1231</c:v>
                </c:pt>
                <c:pt idx="36">
                  <c:v>1281</c:v>
                </c:pt>
                <c:pt idx="37">
                  <c:v>1309</c:v>
                </c:pt>
                <c:pt idx="38">
                  <c:v>1351</c:v>
                </c:pt>
                <c:pt idx="39">
                  <c:v>1390</c:v>
                </c:pt>
                <c:pt idx="40">
                  <c:v>1424</c:v>
                </c:pt>
                <c:pt idx="41">
                  <c:v>1480</c:v>
                </c:pt>
                <c:pt idx="42">
                  <c:v>1525</c:v>
                </c:pt>
                <c:pt idx="43">
                  <c:v>1563</c:v>
                </c:pt>
                <c:pt idx="44">
                  <c:v>1598</c:v>
                </c:pt>
                <c:pt idx="45">
                  <c:v>1640</c:v>
                </c:pt>
                <c:pt idx="46">
                  <c:v>1702</c:v>
                </c:pt>
                <c:pt idx="47">
                  <c:v>1733</c:v>
                </c:pt>
                <c:pt idx="48">
                  <c:v>1800</c:v>
                </c:pt>
                <c:pt idx="49">
                  <c:v>1846</c:v>
                </c:pt>
                <c:pt idx="50">
                  <c:v>1882</c:v>
                </c:pt>
                <c:pt idx="51">
                  <c:v>1913</c:v>
                </c:pt>
                <c:pt idx="52">
                  <c:v>1960</c:v>
                </c:pt>
                <c:pt idx="53">
                  <c:v>1994</c:v>
                </c:pt>
                <c:pt idx="54">
                  <c:v>2037</c:v>
                </c:pt>
                <c:pt idx="55">
                  <c:v>2089</c:v>
                </c:pt>
                <c:pt idx="56">
                  <c:v>2136</c:v>
                </c:pt>
                <c:pt idx="57">
                  <c:v>2176</c:v>
                </c:pt>
                <c:pt idx="58">
                  <c:v>2189</c:v>
                </c:pt>
                <c:pt idx="59">
                  <c:v>2226</c:v>
                </c:pt>
                <c:pt idx="60">
                  <c:v>2284</c:v>
                </c:pt>
                <c:pt idx="61">
                  <c:v>2312</c:v>
                </c:pt>
                <c:pt idx="62">
                  <c:v>2333</c:v>
                </c:pt>
                <c:pt idx="63">
                  <c:v>2365</c:v>
                </c:pt>
                <c:pt idx="64">
                  <c:v>2399</c:v>
                </c:pt>
                <c:pt idx="65">
                  <c:v>2429</c:v>
                </c:pt>
                <c:pt idx="66">
                  <c:v>2450</c:v>
                </c:pt>
                <c:pt idx="67">
                  <c:v>2475</c:v>
                </c:pt>
                <c:pt idx="68">
                  <c:v>2498</c:v>
                </c:pt>
                <c:pt idx="69">
                  <c:v>2538</c:v>
                </c:pt>
                <c:pt idx="70">
                  <c:v>2555</c:v>
                </c:pt>
                <c:pt idx="71">
                  <c:v>2569</c:v>
                </c:pt>
                <c:pt idx="72">
                  <c:v>2581</c:v>
                </c:pt>
                <c:pt idx="73">
                  <c:v>2605</c:v>
                </c:pt>
                <c:pt idx="74">
                  <c:v>2627</c:v>
                </c:pt>
                <c:pt idx="75">
                  <c:v>2654</c:v>
                </c:pt>
                <c:pt idx="76">
                  <c:v>2670</c:v>
                </c:pt>
                <c:pt idx="77">
                  <c:v>2692</c:v>
                </c:pt>
                <c:pt idx="78">
                  <c:v>2707</c:v>
                </c:pt>
                <c:pt idx="79">
                  <c:v>2718</c:v>
                </c:pt>
                <c:pt idx="80">
                  <c:v>2745</c:v>
                </c:pt>
                <c:pt idx="81">
                  <c:v>2756</c:v>
                </c:pt>
                <c:pt idx="82">
                  <c:v>2770</c:v>
                </c:pt>
                <c:pt idx="83">
                  <c:v>2783</c:v>
                </c:pt>
                <c:pt idx="84">
                  <c:v>2790</c:v>
                </c:pt>
                <c:pt idx="85">
                  <c:v>2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563.4501277823865</c:v>
                </c:pt>
                <c:pt idx="71">
                  <c:v>2589.2146770688314</c:v>
                </c:pt>
                <c:pt idx="72">
                  <c:v>2614.257839053455</c:v>
                </c:pt>
                <c:pt idx="73">
                  <c:v>2638.5786874644118</c:v>
                </c:pt>
                <c:pt idx="74">
                  <c:v>2662.0229223372639</c:v>
                </c:pt>
                <c:pt idx="75">
                  <c:v>2684.6948041716978</c:v>
                </c:pt>
                <c:pt idx="76">
                  <c:v>2706.6726125478062</c:v>
                </c:pt>
                <c:pt idx="77">
                  <c:v>2727.9527487439796</c:v>
                </c:pt>
                <c:pt idx="78">
                  <c:v>2748.4388694821523</c:v>
                </c:pt>
                <c:pt idx="79">
                  <c:v>2768.1115990217145</c:v>
                </c:pt>
                <c:pt idx="80">
                  <c:v>2787.0281713754193</c:v>
                </c:pt>
                <c:pt idx="81">
                  <c:v>2805.241084513098</c:v>
                </c:pt>
                <c:pt idx="82">
                  <c:v>2822.8056637487994</c:v>
                </c:pt>
                <c:pt idx="83">
                  <c:v>2839.7254274865077</c:v>
                </c:pt>
                <c:pt idx="84">
                  <c:v>2856.0039497053076</c:v>
                </c:pt>
                <c:pt idx="85">
                  <c:v>2871.6506089377963</c:v>
                </c:pt>
                <c:pt idx="86">
                  <c:v>2886.6951474363755</c:v>
                </c:pt>
                <c:pt idx="87">
                  <c:v>2901.1767121666408</c:v>
                </c:pt>
                <c:pt idx="88">
                  <c:v>2915.1244198153527</c:v>
                </c:pt>
                <c:pt idx="89">
                  <c:v>2928.5554752250091</c:v>
                </c:pt>
                <c:pt idx="90">
                  <c:v>2941.4758315359732</c:v>
                </c:pt>
                <c:pt idx="91">
                  <c:v>2953.9013851669233</c:v>
                </c:pt>
                <c:pt idx="92">
                  <c:v>2965.8542861762016</c:v>
                </c:pt>
                <c:pt idx="93">
                  <c:v>2977.3581893215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565.0404789309277</c:v>
                </c:pt>
                <c:pt idx="71">
                  <c:v>2592.9841337477096</c:v>
                </c:pt>
                <c:pt idx="72">
                  <c:v>2620.6418222832976</c:v>
                </c:pt>
                <c:pt idx="73">
                  <c:v>2648.037908200266</c:v>
                </c:pt>
                <c:pt idx="74">
                  <c:v>2675.0427820514869</c:v>
                </c:pt>
                <c:pt idx="75">
                  <c:v>2701.683081901635</c:v>
                </c:pt>
                <c:pt idx="76">
                  <c:v>2727.987253688108</c:v>
                </c:pt>
                <c:pt idx="77">
                  <c:v>2753.948908107664</c:v>
                </c:pt>
                <c:pt idx="78">
                  <c:v>2779.4802317542985</c:v>
                </c:pt>
                <c:pt idx="79">
                  <c:v>2804.5511033800731</c:v>
                </c:pt>
                <c:pt idx="80">
                  <c:v>2829.1893432937095</c:v>
                </c:pt>
                <c:pt idx="81">
                  <c:v>2853.4115699899335</c:v>
                </c:pt>
                <c:pt idx="82">
                  <c:v>2877.2351500265931</c:v>
                </c:pt>
                <c:pt idx="83">
                  <c:v>2900.6511378573637</c:v>
                </c:pt>
                <c:pt idx="84">
                  <c:v>2923.6521455357874</c:v>
                </c:pt>
                <c:pt idx="85">
                  <c:v>2946.2353487674081</c:v>
                </c:pt>
                <c:pt idx="86">
                  <c:v>2968.4107198874835</c:v>
                </c:pt>
                <c:pt idx="87">
                  <c:v>2990.1974931937766</c:v>
                </c:pt>
                <c:pt idx="88">
                  <c:v>3011.6077536961002</c:v>
                </c:pt>
                <c:pt idx="89">
                  <c:v>3032.6445871734959</c:v>
                </c:pt>
                <c:pt idx="90">
                  <c:v>3053.3030712742111</c:v>
                </c:pt>
                <c:pt idx="91">
                  <c:v>3073.5870551819216</c:v>
                </c:pt>
                <c:pt idx="92">
                  <c:v>3093.5068874980466</c:v>
                </c:pt>
                <c:pt idx="93">
                  <c:v>3113.07055638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568.2211812280107</c:v>
                </c:pt>
                <c:pt idx="71">
                  <c:v>2600.6350056680863</c:v>
                </c:pt>
                <c:pt idx="72">
                  <c:v>2633.8361905597553</c:v>
                </c:pt>
                <c:pt idx="73">
                  <c:v>2667.9687883792844</c:v>
                </c:pt>
                <c:pt idx="74">
                  <c:v>2702.9911569394203</c:v>
                </c:pt>
                <c:pt idx="75">
                  <c:v>2738.7422944074051</c:v>
                </c:pt>
                <c:pt idx="76">
                  <c:v>2775.1754823148822</c:v>
                </c:pt>
                <c:pt idx="77">
                  <c:v>2812.363564218851</c:v>
                </c:pt>
                <c:pt idx="78">
                  <c:v>2850.3453953568232</c:v>
                </c:pt>
                <c:pt idx="79">
                  <c:v>2889.1202815494494</c:v>
                </c:pt>
                <c:pt idx="80">
                  <c:v>2928.6799152512358</c:v>
                </c:pt>
                <c:pt idx="81">
                  <c:v>2968.9744577718511</c:v>
                </c:pt>
                <c:pt idx="82">
                  <c:v>3009.9820566101016</c:v>
                </c:pt>
                <c:pt idx="83">
                  <c:v>3051.7309534544311</c:v>
                </c:pt>
                <c:pt idx="84">
                  <c:v>3094.2641855698134</c:v>
                </c:pt>
                <c:pt idx="85">
                  <c:v>3137.5996053010358</c:v>
                </c:pt>
                <c:pt idx="86">
                  <c:v>3181.7225983645167</c:v>
                </c:pt>
                <c:pt idx="87">
                  <c:v>3226.6319328792924</c:v>
                </c:pt>
                <c:pt idx="88">
                  <c:v>3272.3427268321038</c:v>
                </c:pt>
                <c:pt idx="89">
                  <c:v>3318.8795400576746</c:v>
                </c:pt>
                <c:pt idx="90">
                  <c:v>3366.2612116356681</c:v>
                </c:pt>
                <c:pt idx="91">
                  <c:v>3414.5012702083322</c:v>
                </c:pt>
                <c:pt idx="92">
                  <c:v>3463.6042693105505</c:v>
                </c:pt>
                <c:pt idx="93">
                  <c:v>3513.5783796955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569.0156823531088</c:v>
                </c:pt>
                <c:pt idx="71">
                  <c:v>2602.5701624002254</c:v>
                </c:pt>
                <c:pt idx="72">
                  <c:v>2637.2232292626331</c:v>
                </c:pt>
                <c:pt idx="73">
                  <c:v>2673.1604991115018</c:v>
                </c:pt>
                <c:pt idx="74">
                  <c:v>2710.3731285456529</c:v>
                </c:pt>
                <c:pt idx="75">
                  <c:v>2748.6483493220603</c:v>
                </c:pt>
                <c:pt idx="76">
                  <c:v>2787.9290931809142</c:v>
                </c:pt>
                <c:pt idx="77">
                  <c:v>2828.3274378615006</c:v>
                </c:pt>
                <c:pt idx="78">
                  <c:v>2869.9468080715005</c:v>
                </c:pt>
                <c:pt idx="79">
                  <c:v>2912.8077949566559</c:v>
                </c:pt>
                <c:pt idx="80">
                  <c:v>2956.8990772624093</c:v>
                </c:pt>
                <c:pt idx="81">
                  <c:v>3002.1612959389358</c:v>
                </c:pt>
                <c:pt idx="82">
                  <c:v>3048.5782826296322</c:v>
                </c:pt>
                <c:pt idx="83">
                  <c:v>3096.2110319161739</c:v>
                </c:pt>
                <c:pt idx="84">
                  <c:v>3145.1410795410688</c:v>
                </c:pt>
                <c:pt idx="85">
                  <c:v>3195.4066683551264</c:v>
                </c:pt>
                <c:pt idx="86">
                  <c:v>3247.001436083819</c:v>
                </c:pt>
                <c:pt idx="87">
                  <c:v>3299.9307631675651</c:v>
                </c:pt>
                <c:pt idx="88">
                  <c:v>3354.2313994308356</c:v>
                </c:pt>
                <c:pt idx="89">
                  <c:v>3409.9591985792576</c:v>
                </c:pt>
                <c:pt idx="90">
                  <c:v>3467.1609693362479</c:v>
                </c:pt>
                <c:pt idx="91">
                  <c:v>3525.8740890973531</c:v>
                </c:pt>
                <c:pt idx="92">
                  <c:v>3586.1217760887803</c:v>
                </c:pt>
                <c:pt idx="93">
                  <c:v>3647.9305163384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1</c:v>
                </c:pt>
                <c:pt idx="1">
                  <c:v>81</c:v>
                </c:pt>
                <c:pt idx="2">
                  <c:v>112</c:v>
                </c:pt>
                <c:pt idx="3">
                  <c:v>159</c:v>
                </c:pt>
                <c:pt idx="4">
                  <c:v>214</c:v>
                </c:pt>
                <c:pt idx="5">
                  <c:v>270</c:v>
                </c:pt>
                <c:pt idx="6">
                  <c:v>394</c:v>
                </c:pt>
                <c:pt idx="7">
                  <c:v>454</c:v>
                </c:pt>
                <c:pt idx="8">
                  <c:v>490</c:v>
                </c:pt>
                <c:pt idx="9">
                  <c:v>516</c:v>
                </c:pt>
                <c:pt idx="10">
                  <c:v>567</c:v>
                </c:pt>
                <c:pt idx="11">
                  <c:v>615</c:v>
                </c:pt>
                <c:pt idx="12">
                  <c:v>658</c:v>
                </c:pt>
                <c:pt idx="13">
                  <c:v>696</c:v>
                </c:pt>
                <c:pt idx="14">
                  <c:v>752</c:v>
                </c:pt>
                <c:pt idx="15">
                  <c:v>777</c:v>
                </c:pt>
                <c:pt idx="16">
                  <c:v>794</c:v>
                </c:pt>
                <c:pt idx="17">
                  <c:v>848</c:v>
                </c:pt>
                <c:pt idx="18">
                  <c:v>891</c:v>
                </c:pt>
                <c:pt idx="19">
                  <c:v>931</c:v>
                </c:pt>
                <c:pt idx="20">
                  <c:v>982</c:v>
                </c:pt>
                <c:pt idx="21">
                  <c:v>1017</c:v>
                </c:pt>
                <c:pt idx="22">
                  <c:v>1041</c:v>
                </c:pt>
                <c:pt idx="23">
                  <c:v>1074</c:v>
                </c:pt>
                <c:pt idx="24">
                  <c:v>1126</c:v>
                </c:pt>
                <c:pt idx="25">
                  <c:v>1167</c:v>
                </c:pt>
                <c:pt idx="26">
                  <c:v>1206</c:v>
                </c:pt>
                <c:pt idx="27">
                  <c:v>1250</c:v>
                </c:pt>
                <c:pt idx="28">
                  <c:v>1301</c:v>
                </c:pt>
                <c:pt idx="29">
                  <c:v>1319</c:v>
                </c:pt>
                <c:pt idx="30">
                  <c:v>1339</c:v>
                </c:pt>
                <c:pt idx="31">
                  <c:v>1403</c:v>
                </c:pt>
                <c:pt idx="32">
                  <c:v>1436</c:v>
                </c:pt>
                <c:pt idx="33">
                  <c:v>1468</c:v>
                </c:pt>
                <c:pt idx="34">
                  <c:v>1502</c:v>
                </c:pt>
                <c:pt idx="35">
                  <c:v>1545</c:v>
                </c:pt>
                <c:pt idx="36">
                  <c:v>1568</c:v>
                </c:pt>
                <c:pt idx="37">
                  <c:v>1593</c:v>
                </c:pt>
                <c:pt idx="38">
                  <c:v>1647</c:v>
                </c:pt>
                <c:pt idx="39">
                  <c:v>1686</c:v>
                </c:pt>
                <c:pt idx="40">
                  <c:v>1730</c:v>
                </c:pt>
                <c:pt idx="41">
                  <c:v>1776</c:v>
                </c:pt>
                <c:pt idx="42">
                  <c:v>1839</c:v>
                </c:pt>
                <c:pt idx="43">
                  <c:v>1878</c:v>
                </c:pt>
                <c:pt idx="44">
                  <c:v>1913</c:v>
                </c:pt>
                <c:pt idx="45">
                  <c:v>1980</c:v>
                </c:pt>
                <c:pt idx="46">
                  <c:v>2038</c:v>
                </c:pt>
                <c:pt idx="47">
                  <c:v>2102</c:v>
                </c:pt>
                <c:pt idx="48">
                  <c:v>2177</c:v>
                </c:pt>
                <c:pt idx="49">
                  <c:v>2227</c:v>
                </c:pt>
                <c:pt idx="50">
                  <c:v>2259</c:v>
                </c:pt>
                <c:pt idx="51">
                  <c:v>2309</c:v>
                </c:pt>
                <c:pt idx="52">
                  <c:v>2386</c:v>
                </c:pt>
                <c:pt idx="53">
                  <c:v>2466</c:v>
                </c:pt>
                <c:pt idx="54">
                  <c:v>2535</c:v>
                </c:pt>
                <c:pt idx="55">
                  <c:v>2618</c:v>
                </c:pt>
                <c:pt idx="56">
                  <c:v>2676</c:v>
                </c:pt>
                <c:pt idx="57">
                  <c:v>2729</c:v>
                </c:pt>
                <c:pt idx="58">
                  <c:v>2785</c:v>
                </c:pt>
                <c:pt idx="59">
                  <c:v>2899</c:v>
                </c:pt>
                <c:pt idx="60">
                  <c:v>2994</c:v>
                </c:pt>
                <c:pt idx="61">
                  <c:v>3062</c:v>
                </c:pt>
                <c:pt idx="62">
                  <c:v>3130</c:v>
                </c:pt>
                <c:pt idx="63">
                  <c:v>3218</c:v>
                </c:pt>
                <c:pt idx="64">
                  <c:v>3262</c:v>
                </c:pt>
                <c:pt idx="65">
                  <c:v>3313</c:v>
                </c:pt>
                <c:pt idx="66">
                  <c:v>3418</c:v>
                </c:pt>
                <c:pt idx="67">
                  <c:v>3510</c:v>
                </c:pt>
                <c:pt idx="68">
                  <c:v>3611</c:v>
                </c:pt>
                <c:pt idx="69">
                  <c:v>3703</c:v>
                </c:pt>
                <c:pt idx="70">
                  <c:v>3806</c:v>
                </c:pt>
                <c:pt idx="71">
                  <c:v>3858</c:v>
                </c:pt>
                <c:pt idx="72">
                  <c:v>3903</c:v>
                </c:pt>
                <c:pt idx="73">
                  <c:v>4027</c:v>
                </c:pt>
                <c:pt idx="74">
                  <c:v>4133</c:v>
                </c:pt>
                <c:pt idx="75">
                  <c:v>4222</c:v>
                </c:pt>
                <c:pt idx="76">
                  <c:v>4303</c:v>
                </c:pt>
                <c:pt idx="77">
                  <c:v>4379</c:v>
                </c:pt>
                <c:pt idx="78">
                  <c:v>4445</c:v>
                </c:pt>
                <c:pt idx="79">
                  <c:v>4479</c:v>
                </c:pt>
                <c:pt idx="80">
                  <c:v>4602</c:v>
                </c:pt>
                <c:pt idx="81">
                  <c:v>4674</c:v>
                </c:pt>
                <c:pt idx="82">
                  <c:v>4738</c:v>
                </c:pt>
                <c:pt idx="83">
                  <c:v>4808</c:v>
                </c:pt>
                <c:pt idx="84">
                  <c:v>4864</c:v>
                </c:pt>
                <c:pt idx="85">
                  <c:v>4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760.3758933627046</c:v>
                </c:pt>
                <c:pt idx="71">
                  <c:v>3821.1431995811577</c:v>
                </c:pt>
                <c:pt idx="72">
                  <c:v>3880.2294174584117</c:v>
                </c:pt>
                <c:pt idx="73">
                  <c:v>3937.660793165232</c:v>
                </c:pt>
                <c:pt idx="74">
                  <c:v>3993.064907327449</c:v>
                </c:pt>
                <c:pt idx="75">
                  <c:v>4046.6587185844187</c:v>
                </c:pt>
                <c:pt idx="76">
                  <c:v>4098.6158937487671</c:v>
                </c:pt>
                <c:pt idx="77">
                  <c:v>4148.9193531821547</c:v>
                </c:pt>
                <c:pt idx="78">
                  <c:v>4197.3401272198525</c:v>
                </c:pt>
                <c:pt idx="79">
                  <c:v>4243.8378044299052</c:v>
                </c:pt>
                <c:pt idx="80">
                  <c:v>4288.5515562730579</c:v>
                </c:pt>
                <c:pt idx="81">
                  <c:v>4331.6000701920229</c:v>
                </c:pt>
                <c:pt idx="82">
                  <c:v>4373.114368104747</c:v>
                </c:pt>
                <c:pt idx="83">
                  <c:v>4413.1059971154018</c:v>
                </c:pt>
                <c:pt idx="84">
                  <c:v>4451.5833329414399</c:v>
                </c:pt>
                <c:pt idx="85">
                  <c:v>4488.5665518008873</c:v>
                </c:pt>
                <c:pt idx="86">
                  <c:v>4524.1258808624607</c:v>
                </c:pt>
                <c:pt idx="87">
                  <c:v>4558.353885065736</c:v>
                </c:pt>
                <c:pt idx="88">
                  <c:v>4591.3191513752836</c:v>
                </c:pt>
                <c:pt idx="89">
                  <c:v>4623.0636135894365</c:v>
                </c:pt>
                <c:pt idx="90">
                  <c:v>4653.6022270924514</c:v>
                </c:pt>
                <c:pt idx="91">
                  <c:v>4682.9710236258315</c:v>
                </c:pt>
                <c:pt idx="92">
                  <c:v>4711.2218739584005</c:v>
                </c:pt>
                <c:pt idx="93">
                  <c:v>4738.4110521491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764.0758046124561</c:v>
                </c:pt>
                <c:pt idx="71">
                  <c:v>3829.9125177802248</c:v>
                </c:pt>
                <c:pt idx="72">
                  <c:v>3895.0869371595381</c:v>
                </c:pt>
                <c:pt idx="73">
                  <c:v>3959.6887424890815</c:v>
                </c:pt>
                <c:pt idx="74">
                  <c:v>4023.4050403177662</c:v>
                </c:pt>
                <c:pt idx="75">
                  <c:v>4086.2762431333263</c:v>
                </c:pt>
                <c:pt idx="76">
                  <c:v>4148.3617606798061</c:v>
                </c:pt>
                <c:pt idx="77">
                  <c:v>4209.6408405916172</c:v>
                </c:pt>
                <c:pt idx="78">
                  <c:v>4269.9014547308161</c:v>
                </c:pt>
                <c:pt idx="79">
                  <c:v>4329.0759390920521</c:v>
                </c:pt>
                <c:pt idx="80">
                  <c:v>4387.2340654690988</c:v>
                </c:pt>
                <c:pt idx="81">
                  <c:v>4444.4083517849449</c:v>
                </c:pt>
                <c:pt idx="82">
                  <c:v>4500.6408909203928</c:v>
                </c:pt>
                <c:pt idx="83">
                  <c:v>4555.9133705211543</c:v>
                </c:pt>
                <c:pt idx="84">
                  <c:v>4610.2078014283043</c:v>
                </c:pt>
                <c:pt idx="85">
                  <c:v>4663.5151768957749</c:v>
                </c:pt>
                <c:pt idx="86">
                  <c:v>4715.8592063000897</c:v>
                </c:pt>
                <c:pt idx="87">
                  <c:v>4767.2856008812405</c:v>
                </c:pt>
                <c:pt idx="88">
                  <c:v>4817.8227057113618</c:v>
                </c:pt>
                <c:pt idx="89">
                  <c:v>4867.4787432083431</c:v>
                </c:pt>
                <c:pt idx="90">
                  <c:v>4916.2429665531608</c:v>
                </c:pt>
                <c:pt idx="91">
                  <c:v>4964.1228800508215</c:v>
                </c:pt>
                <c:pt idx="92">
                  <c:v>5011.1423968452864</c:v>
                </c:pt>
                <c:pt idx="93">
                  <c:v>5057.3210043598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771.47562711196</c:v>
                </c:pt>
                <c:pt idx="71">
                  <c:v>3847.7116229092589</c:v>
                </c:pt>
                <c:pt idx="72">
                  <c:v>3925.7939735453747</c:v>
                </c:pt>
                <c:pt idx="73">
                  <c:v>4006.1004073227077</c:v>
                </c:pt>
                <c:pt idx="74">
                  <c:v>4088.5277604195676</c:v>
                </c:pt>
                <c:pt idx="75">
                  <c:v>4172.689262282498</c:v>
                </c:pt>
                <c:pt idx="76">
                  <c:v>4258.4744521624516</c:v>
                </c:pt>
                <c:pt idx="77">
                  <c:v>4346.0541073559343</c:v>
                </c:pt>
                <c:pt idx="78">
                  <c:v>4435.5067159816845</c:v>
                </c:pt>
                <c:pt idx="79">
                  <c:v>4526.8302180488536</c:v>
                </c:pt>
                <c:pt idx="80">
                  <c:v>4620.0100757286955</c:v>
                </c:pt>
                <c:pt idx="81">
                  <c:v>4714.9204798728715</c:v>
                </c:pt>
                <c:pt idx="82">
                  <c:v>4811.5124839532873</c:v>
                </c:pt>
                <c:pt idx="83">
                  <c:v>4909.854044285049</c:v>
                </c:pt>
                <c:pt idx="84">
                  <c:v>5010.044272293926</c:v>
                </c:pt>
                <c:pt idx="85">
                  <c:v>5112.122188692103</c:v>
                </c:pt>
                <c:pt idx="86">
                  <c:v>5216.0547151372639</c:v>
                </c:pt>
                <c:pt idx="87">
                  <c:v>5321.8402748840736</c:v>
                </c:pt>
                <c:pt idx="88">
                  <c:v>5429.5142881422435</c:v>
                </c:pt>
                <c:pt idx="89">
                  <c:v>5539.1344304035629</c:v>
                </c:pt>
                <c:pt idx="90">
                  <c:v>5650.7456817164311</c:v>
                </c:pt>
                <c:pt idx="91">
                  <c:v>5764.37830413753</c:v>
                </c:pt>
                <c:pt idx="92">
                  <c:v>5880.0429016571852</c:v>
                </c:pt>
                <c:pt idx="93">
                  <c:v>5997.7597972102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773.3240136480954</c:v>
                </c:pt>
                <c:pt idx="71">
                  <c:v>3852.2136024699112</c:v>
                </c:pt>
                <c:pt idx="72">
                  <c:v>3933.676495784252</c:v>
                </c:pt>
                <c:pt idx="73">
                  <c:v>4018.1896019176966</c:v>
                </c:pt>
                <c:pt idx="74">
                  <c:v>4105.7275246389345</c:v>
                </c:pt>
                <c:pt idx="75">
                  <c:v>4195.7856571940347</c:v>
                </c:pt>
                <c:pt idx="76">
                  <c:v>4288.2310512772838</c:v>
                </c:pt>
                <c:pt idx="77">
                  <c:v>4383.3278960193893</c:v>
                </c:pt>
                <c:pt idx="78">
                  <c:v>4481.3042196728975</c:v>
                </c:pt>
                <c:pt idx="79">
                  <c:v>4582.207149194719</c:v>
                </c:pt>
                <c:pt idx="80">
                  <c:v>4686.0154947526353</c:v>
                </c:pt>
                <c:pt idx="81">
                  <c:v>4792.5808326231181</c:v>
                </c:pt>
                <c:pt idx="82">
                  <c:v>4901.8679046327543</c:v>
                </c:pt>
                <c:pt idx="83">
                  <c:v>5014.0212513180304</c:v>
                </c:pt>
                <c:pt idx="84">
                  <c:v>5129.2299732237734</c:v>
                </c:pt>
                <c:pt idx="85">
                  <c:v>5247.5810212930282</c:v>
                </c:pt>
                <c:pt idx="86">
                  <c:v>5369.0611427881222</c:v>
                </c:pt>
                <c:pt idx="87">
                  <c:v>5493.6847417778572</c:v>
                </c:pt>
                <c:pt idx="88">
                  <c:v>5621.5381005324261</c:v>
                </c:pt>
                <c:pt idx="89">
                  <c:v>5752.7521102755345</c:v>
                </c:pt>
                <c:pt idx="90">
                  <c:v>5887.4375007142944</c:v>
                </c:pt>
                <c:pt idx="91">
                  <c:v>6025.6806833963137</c:v>
                </c:pt>
                <c:pt idx="92">
                  <c:v>6167.5363290572113</c:v>
                </c:pt>
                <c:pt idx="93">
                  <c:v>6313.0680892299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56</c:v>
                </c:pt>
                <c:pt idx="2">
                  <c:v>83</c:v>
                </c:pt>
                <c:pt idx="3">
                  <c:v>119</c:v>
                </c:pt>
                <c:pt idx="4">
                  <c:v>159</c:v>
                </c:pt>
                <c:pt idx="5">
                  <c:v>196</c:v>
                </c:pt>
                <c:pt idx="6">
                  <c:v>227</c:v>
                </c:pt>
                <c:pt idx="7">
                  <c:v>260</c:v>
                </c:pt>
                <c:pt idx="8">
                  <c:v>293</c:v>
                </c:pt>
                <c:pt idx="9">
                  <c:v>322</c:v>
                </c:pt>
                <c:pt idx="10">
                  <c:v>349</c:v>
                </c:pt>
                <c:pt idx="11">
                  <c:v>379</c:v>
                </c:pt>
                <c:pt idx="12">
                  <c:v>405</c:v>
                </c:pt>
                <c:pt idx="13">
                  <c:v>431</c:v>
                </c:pt>
                <c:pt idx="14">
                  <c:v>446</c:v>
                </c:pt>
                <c:pt idx="15">
                  <c:v>469</c:v>
                </c:pt>
                <c:pt idx="16">
                  <c:v>491</c:v>
                </c:pt>
                <c:pt idx="17">
                  <c:v>524</c:v>
                </c:pt>
                <c:pt idx="18">
                  <c:v>552</c:v>
                </c:pt>
                <c:pt idx="19">
                  <c:v>585</c:v>
                </c:pt>
                <c:pt idx="20">
                  <c:v>608</c:v>
                </c:pt>
                <c:pt idx="21">
                  <c:v>631</c:v>
                </c:pt>
                <c:pt idx="22">
                  <c:v>652</c:v>
                </c:pt>
                <c:pt idx="23">
                  <c:v>673</c:v>
                </c:pt>
                <c:pt idx="24">
                  <c:v>702</c:v>
                </c:pt>
                <c:pt idx="25">
                  <c:v>732</c:v>
                </c:pt>
                <c:pt idx="26">
                  <c:v>759</c:v>
                </c:pt>
                <c:pt idx="27">
                  <c:v>784</c:v>
                </c:pt>
                <c:pt idx="28">
                  <c:v>819</c:v>
                </c:pt>
                <c:pt idx="29">
                  <c:v>840</c:v>
                </c:pt>
                <c:pt idx="30">
                  <c:v>859</c:v>
                </c:pt>
                <c:pt idx="31">
                  <c:v>893</c:v>
                </c:pt>
                <c:pt idx="32">
                  <c:v>927</c:v>
                </c:pt>
                <c:pt idx="33">
                  <c:v>948</c:v>
                </c:pt>
                <c:pt idx="34">
                  <c:v>978</c:v>
                </c:pt>
                <c:pt idx="35">
                  <c:v>1000</c:v>
                </c:pt>
                <c:pt idx="36">
                  <c:v>1024</c:v>
                </c:pt>
                <c:pt idx="37">
                  <c:v>1059</c:v>
                </c:pt>
                <c:pt idx="38">
                  <c:v>1096</c:v>
                </c:pt>
                <c:pt idx="39">
                  <c:v>1125</c:v>
                </c:pt>
                <c:pt idx="40">
                  <c:v>1154</c:v>
                </c:pt>
                <c:pt idx="41">
                  <c:v>1193</c:v>
                </c:pt>
                <c:pt idx="42">
                  <c:v>1222</c:v>
                </c:pt>
                <c:pt idx="43">
                  <c:v>1246</c:v>
                </c:pt>
                <c:pt idx="44">
                  <c:v>1278</c:v>
                </c:pt>
                <c:pt idx="45">
                  <c:v>1315</c:v>
                </c:pt>
                <c:pt idx="46">
                  <c:v>1350</c:v>
                </c:pt>
                <c:pt idx="47">
                  <c:v>1388</c:v>
                </c:pt>
                <c:pt idx="48">
                  <c:v>1424</c:v>
                </c:pt>
                <c:pt idx="49">
                  <c:v>1455</c:v>
                </c:pt>
                <c:pt idx="50">
                  <c:v>1475</c:v>
                </c:pt>
                <c:pt idx="51">
                  <c:v>1518</c:v>
                </c:pt>
                <c:pt idx="52">
                  <c:v>1572</c:v>
                </c:pt>
                <c:pt idx="53">
                  <c:v>1608</c:v>
                </c:pt>
                <c:pt idx="54">
                  <c:v>1650</c:v>
                </c:pt>
                <c:pt idx="55">
                  <c:v>1677</c:v>
                </c:pt>
                <c:pt idx="56">
                  <c:v>1723</c:v>
                </c:pt>
                <c:pt idx="57">
                  <c:v>1765</c:v>
                </c:pt>
                <c:pt idx="58">
                  <c:v>1809</c:v>
                </c:pt>
                <c:pt idx="59">
                  <c:v>1862</c:v>
                </c:pt>
                <c:pt idx="60">
                  <c:v>1919</c:v>
                </c:pt>
                <c:pt idx="61">
                  <c:v>1961</c:v>
                </c:pt>
                <c:pt idx="62">
                  <c:v>2018</c:v>
                </c:pt>
                <c:pt idx="63">
                  <c:v>2059</c:v>
                </c:pt>
                <c:pt idx="64">
                  <c:v>2094</c:v>
                </c:pt>
                <c:pt idx="65">
                  <c:v>2141</c:v>
                </c:pt>
                <c:pt idx="66">
                  <c:v>2202</c:v>
                </c:pt>
                <c:pt idx="67">
                  <c:v>2244</c:v>
                </c:pt>
                <c:pt idx="68">
                  <c:v>2285</c:v>
                </c:pt>
                <c:pt idx="69">
                  <c:v>2337</c:v>
                </c:pt>
                <c:pt idx="70">
                  <c:v>2387</c:v>
                </c:pt>
                <c:pt idx="71">
                  <c:v>2426</c:v>
                </c:pt>
                <c:pt idx="72">
                  <c:v>2473</c:v>
                </c:pt>
                <c:pt idx="73">
                  <c:v>2525</c:v>
                </c:pt>
                <c:pt idx="74">
                  <c:v>2568</c:v>
                </c:pt>
                <c:pt idx="75">
                  <c:v>2606</c:v>
                </c:pt>
                <c:pt idx="76">
                  <c:v>2639</c:v>
                </c:pt>
                <c:pt idx="77">
                  <c:v>2677</c:v>
                </c:pt>
                <c:pt idx="78">
                  <c:v>2709</c:v>
                </c:pt>
                <c:pt idx="79">
                  <c:v>2734</c:v>
                </c:pt>
                <c:pt idx="80">
                  <c:v>2766</c:v>
                </c:pt>
                <c:pt idx="81">
                  <c:v>2800</c:v>
                </c:pt>
                <c:pt idx="82">
                  <c:v>2848</c:v>
                </c:pt>
                <c:pt idx="83">
                  <c:v>2872</c:v>
                </c:pt>
                <c:pt idx="84">
                  <c:v>2899</c:v>
                </c:pt>
                <c:pt idx="85">
                  <c:v>2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369.4299160707287</c:v>
                </c:pt>
                <c:pt idx="71">
                  <c:v>2407.8377277719305</c:v>
                </c:pt>
                <c:pt idx="72">
                  <c:v>2445.1699164841225</c:v>
                </c:pt>
                <c:pt idx="73">
                  <c:v>2481.4247741857466</c:v>
                </c:pt>
                <c:pt idx="74">
                  <c:v>2516.3723800853663</c:v>
                </c:pt>
                <c:pt idx="75">
                  <c:v>2550.1684908689576</c:v>
                </c:pt>
                <c:pt idx="76">
                  <c:v>2582.9299258664432</c:v>
                </c:pt>
                <c:pt idx="77">
                  <c:v>2614.651419262138</c:v>
                </c:pt>
                <c:pt idx="78">
                  <c:v>2645.1893698973613</c:v>
                </c:pt>
                <c:pt idx="79">
                  <c:v>2674.5148330530724</c:v>
                </c:pt>
                <c:pt idx="80">
                  <c:v>2702.713080676941</c:v>
                </c:pt>
                <c:pt idx="81">
                  <c:v>2729.8624317783283</c:v>
                </c:pt>
                <c:pt idx="82">
                  <c:v>2756.0453549449694</c:v>
                </c:pt>
                <c:pt idx="83">
                  <c:v>2781.2670577542026</c:v>
                </c:pt>
                <c:pt idx="84">
                  <c:v>2805.5328686380567</c:v>
                </c:pt>
                <c:pt idx="85">
                  <c:v>2828.8567907618622</c:v>
                </c:pt>
                <c:pt idx="86">
                  <c:v>2851.2831606916939</c:v>
                </c:pt>
                <c:pt idx="87">
                  <c:v>2872.8703330206245</c:v>
                </c:pt>
                <c:pt idx="88">
                  <c:v>2893.6617136658042</c:v>
                </c:pt>
                <c:pt idx="89">
                  <c:v>2913.682934689693</c:v>
                </c:pt>
                <c:pt idx="90">
                  <c:v>2932.9428600516321</c:v>
                </c:pt>
                <c:pt idx="91">
                  <c:v>2951.4652037259352</c:v>
                </c:pt>
                <c:pt idx="92">
                  <c:v>2969.2829895946766</c:v>
                </c:pt>
                <c:pt idx="93">
                  <c:v>2986.4314747974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371.801276762244</c:v>
                </c:pt>
                <c:pt idx="71">
                  <c:v>2413.4583390104744</c:v>
                </c:pt>
                <c:pt idx="72">
                  <c:v>2454.6889645574679</c:v>
                </c:pt>
                <c:pt idx="73">
                  <c:v>2495.5291021052085</c:v>
                </c:pt>
                <c:pt idx="74">
                  <c:v>2535.7856227225448</c:v>
                </c:pt>
                <c:pt idx="75">
                  <c:v>2575.4984943626619</c:v>
                </c:pt>
                <c:pt idx="76">
                  <c:v>2614.7102104533533</c:v>
                </c:pt>
                <c:pt idx="77">
                  <c:v>2653.4113117144398</c:v>
                </c:pt>
                <c:pt idx="78">
                  <c:v>2691.4709492258635</c:v>
                </c:pt>
                <c:pt idx="79">
                  <c:v>2728.8441816574168</c:v>
                </c:pt>
                <c:pt idx="80">
                  <c:v>2765.5724335600089</c:v>
                </c:pt>
                <c:pt idx="81">
                  <c:v>2801.6805553638296</c:v>
                </c:pt>
                <c:pt idx="82">
                  <c:v>2837.194422762971</c:v>
                </c:pt>
                <c:pt idx="83">
                  <c:v>2872.1006683569813</c:v>
                </c:pt>
                <c:pt idx="84">
                  <c:v>2906.3882852561492</c:v>
                </c:pt>
                <c:pt idx="85">
                  <c:v>2940.0530902128621</c:v>
                </c:pt>
                <c:pt idx="86">
                  <c:v>2973.1099470436266</c:v>
                </c:pt>
                <c:pt idx="87">
                  <c:v>3005.5875247812132</c:v>
                </c:pt>
                <c:pt idx="88">
                  <c:v>3037.5038406507756</c:v>
                </c:pt>
                <c:pt idx="89">
                  <c:v>3068.8634838256289</c:v>
                </c:pt>
                <c:pt idx="90">
                  <c:v>3099.6591065112543</c:v>
                </c:pt>
                <c:pt idx="91">
                  <c:v>3129.8964648927772</c:v>
                </c:pt>
                <c:pt idx="92">
                  <c:v>3159.5909915637831</c:v>
                </c:pt>
                <c:pt idx="93">
                  <c:v>3188.754587220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376.5439981452755</c:v>
                </c:pt>
                <c:pt idx="71">
                  <c:v>2424.8665020621133</c:v>
                </c:pt>
                <c:pt idx="72">
                  <c:v>2474.3628654442673</c:v>
                </c:pt>
                <c:pt idx="73">
                  <c:v>2525.2473936533238</c:v>
                </c:pt>
                <c:pt idx="74">
                  <c:v>2577.4580666612055</c:v>
                </c:pt>
                <c:pt idx="75">
                  <c:v>2630.7549562935269</c:v>
                </c:pt>
                <c:pt idx="76">
                  <c:v>2685.0684213789955</c:v>
                </c:pt>
                <c:pt idx="77">
                  <c:v>2740.5070633393261</c:v>
                </c:pt>
                <c:pt idx="78">
                  <c:v>2797.128955971174</c:v>
                </c:pt>
                <c:pt idx="79">
                  <c:v>2854.9330693103529</c:v>
                </c:pt>
                <c:pt idx="80">
                  <c:v>2913.9069609167036</c:v>
                </c:pt>
                <c:pt idx="81">
                  <c:v>2973.9764301777404</c:v>
                </c:pt>
                <c:pt idx="82">
                  <c:v>3035.1088712090577</c:v>
                </c:pt>
                <c:pt idx="83">
                  <c:v>3097.3463690542785</c:v>
                </c:pt>
                <c:pt idx="84">
                  <c:v>3160.7531079231958</c:v>
                </c:pt>
                <c:pt idx="85">
                  <c:v>3225.3557362273123</c:v>
                </c:pt>
                <c:pt idx="86">
                  <c:v>3291.1324521133574</c:v>
                </c:pt>
                <c:pt idx="87">
                  <c:v>3358.0814038956923</c:v>
                </c:pt>
                <c:pt idx="88">
                  <c:v>3426.2251310300553</c:v>
                </c:pt>
                <c:pt idx="89">
                  <c:v>3495.6002483142292</c:v>
                </c:pt>
                <c:pt idx="90">
                  <c:v>3566.2348333074247</c:v>
                </c:pt>
                <c:pt idx="91">
                  <c:v>3638.1490724153637</c:v>
                </c:pt>
                <c:pt idx="92">
                  <c:v>3711.3497552611898</c:v>
                </c:pt>
                <c:pt idx="93">
                  <c:v>3785.8490500725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377.7286728249214</c:v>
                </c:pt>
                <c:pt idx="71">
                  <c:v>2427.7520010791063</c:v>
                </c:pt>
                <c:pt idx="72">
                  <c:v>2479.4132228448793</c:v>
                </c:pt>
                <c:pt idx="73">
                  <c:v>2532.9885902198848</c:v>
                </c:pt>
                <c:pt idx="74">
                  <c:v>2588.4649723738389</c:v>
                </c:pt>
                <c:pt idx="75">
                  <c:v>2645.5252227367114</c:v>
                </c:pt>
                <c:pt idx="76">
                  <c:v>2704.0842493304226</c:v>
                </c:pt>
                <c:pt idx="77">
                  <c:v>2764.3091308063563</c:v>
                </c:pt>
                <c:pt idx="78">
                  <c:v>2826.354227830248</c:v>
                </c:pt>
                <c:pt idx="79">
                  <c:v>2890.2502526571434</c:v>
                </c:pt>
                <c:pt idx="80">
                  <c:v>2955.9802649925696</c:v>
                </c:pt>
                <c:pt idx="81">
                  <c:v>3023.4558738469796</c:v>
                </c:pt>
                <c:pt idx="82">
                  <c:v>3092.652943577411</c:v>
                </c:pt>
                <c:pt idx="83">
                  <c:v>3163.6623923852553</c:v>
                </c:pt>
                <c:pt idx="84">
                  <c:v>3236.6058043991288</c:v>
                </c:pt>
                <c:pt idx="85">
                  <c:v>3311.5402264962868</c:v>
                </c:pt>
                <c:pt idx="86">
                  <c:v>3388.4561541103744</c:v>
                </c:pt>
                <c:pt idx="87">
                  <c:v>3467.3615882630666</c:v>
                </c:pt>
                <c:pt idx="88">
                  <c:v>3548.311317310995</c:v>
                </c:pt>
                <c:pt idx="89">
                  <c:v>3631.3886133744863</c:v>
                </c:pt>
                <c:pt idx="90">
                  <c:v>3716.6632515246629</c:v>
                </c:pt>
                <c:pt idx="91">
                  <c:v>3804.1909712001134</c:v>
                </c:pt>
                <c:pt idx="92">
                  <c:v>3894.0063853958627</c:v>
                </c:pt>
                <c:pt idx="93">
                  <c:v>3986.1489638384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3</c:v>
                </c:pt>
                <c:pt idx="1">
                  <c:v>95</c:v>
                </c:pt>
                <c:pt idx="2">
                  <c:v>145</c:v>
                </c:pt>
                <c:pt idx="3">
                  <c:v>200</c:v>
                </c:pt>
                <c:pt idx="4">
                  <c:v>263</c:v>
                </c:pt>
                <c:pt idx="5">
                  <c:v>313</c:v>
                </c:pt>
                <c:pt idx="6">
                  <c:v>368</c:v>
                </c:pt>
                <c:pt idx="7">
                  <c:v>411</c:v>
                </c:pt>
                <c:pt idx="8">
                  <c:v>449</c:v>
                </c:pt>
                <c:pt idx="9">
                  <c:v>490</c:v>
                </c:pt>
                <c:pt idx="10">
                  <c:v>543</c:v>
                </c:pt>
                <c:pt idx="11">
                  <c:v>604</c:v>
                </c:pt>
                <c:pt idx="12">
                  <c:v>653</c:v>
                </c:pt>
                <c:pt idx="13">
                  <c:v>709</c:v>
                </c:pt>
                <c:pt idx="14">
                  <c:v>777</c:v>
                </c:pt>
                <c:pt idx="15">
                  <c:v>822</c:v>
                </c:pt>
                <c:pt idx="16">
                  <c:v>860</c:v>
                </c:pt>
                <c:pt idx="17">
                  <c:v>917</c:v>
                </c:pt>
                <c:pt idx="18">
                  <c:v>978</c:v>
                </c:pt>
                <c:pt idx="19">
                  <c:v>1037</c:v>
                </c:pt>
                <c:pt idx="20">
                  <c:v>1090</c:v>
                </c:pt>
                <c:pt idx="21">
                  <c:v>1153</c:v>
                </c:pt>
                <c:pt idx="22">
                  <c:v>1206</c:v>
                </c:pt>
                <c:pt idx="23">
                  <c:v>1246</c:v>
                </c:pt>
                <c:pt idx="24">
                  <c:v>1315</c:v>
                </c:pt>
                <c:pt idx="25">
                  <c:v>1364</c:v>
                </c:pt>
                <c:pt idx="26">
                  <c:v>1417</c:v>
                </c:pt>
                <c:pt idx="27">
                  <c:v>1473</c:v>
                </c:pt>
                <c:pt idx="28">
                  <c:v>1524</c:v>
                </c:pt>
                <c:pt idx="29">
                  <c:v>1582</c:v>
                </c:pt>
                <c:pt idx="30">
                  <c:v>1640</c:v>
                </c:pt>
                <c:pt idx="31">
                  <c:v>1707</c:v>
                </c:pt>
                <c:pt idx="32">
                  <c:v>1777</c:v>
                </c:pt>
                <c:pt idx="33">
                  <c:v>1838</c:v>
                </c:pt>
                <c:pt idx="34">
                  <c:v>1902</c:v>
                </c:pt>
                <c:pt idx="35">
                  <c:v>1950</c:v>
                </c:pt>
                <c:pt idx="36">
                  <c:v>1987</c:v>
                </c:pt>
                <c:pt idx="37">
                  <c:v>2022</c:v>
                </c:pt>
                <c:pt idx="38">
                  <c:v>2093</c:v>
                </c:pt>
                <c:pt idx="39">
                  <c:v>2169</c:v>
                </c:pt>
                <c:pt idx="40">
                  <c:v>2226</c:v>
                </c:pt>
                <c:pt idx="41">
                  <c:v>2278</c:v>
                </c:pt>
                <c:pt idx="42">
                  <c:v>2320</c:v>
                </c:pt>
                <c:pt idx="43">
                  <c:v>2362</c:v>
                </c:pt>
                <c:pt idx="44">
                  <c:v>2404</c:v>
                </c:pt>
                <c:pt idx="45">
                  <c:v>2471</c:v>
                </c:pt>
                <c:pt idx="46">
                  <c:v>2531</c:v>
                </c:pt>
                <c:pt idx="47">
                  <c:v>2600</c:v>
                </c:pt>
                <c:pt idx="48">
                  <c:v>2648</c:v>
                </c:pt>
                <c:pt idx="49">
                  <c:v>2703</c:v>
                </c:pt>
                <c:pt idx="50">
                  <c:v>2744</c:v>
                </c:pt>
                <c:pt idx="51">
                  <c:v>2787</c:v>
                </c:pt>
                <c:pt idx="52">
                  <c:v>2842</c:v>
                </c:pt>
                <c:pt idx="53">
                  <c:v>2893</c:v>
                </c:pt>
                <c:pt idx="54">
                  <c:v>2935</c:v>
                </c:pt>
                <c:pt idx="55">
                  <c:v>2994</c:v>
                </c:pt>
                <c:pt idx="56">
                  <c:v>3041</c:v>
                </c:pt>
                <c:pt idx="57">
                  <c:v>3092</c:v>
                </c:pt>
                <c:pt idx="58">
                  <c:v>3150</c:v>
                </c:pt>
                <c:pt idx="59">
                  <c:v>3207</c:v>
                </c:pt>
                <c:pt idx="60">
                  <c:v>3255</c:v>
                </c:pt>
                <c:pt idx="61">
                  <c:v>3307</c:v>
                </c:pt>
                <c:pt idx="62">
                  <c:v>3362</c:v>
                </c:pt>
                <c:pt idx="63">
                  <c:v>3411</c:v>
                </c:pt>
                <c:pt idx="64">
                  <c:v>3456</c:v>
                </c:pt>
                <c:pt idx="65">
                  <c:v>3497</c:v>
                </c:pt>
                <c:pt idx="66">
                  <c:v>3544</c:v>
                </c:pt>
                <c:pt idx="67">
                  <c:v>3599</c:v>
                </c:pt>
                <c:pt idx="68">
                  <c:v>3645</c:v>
                </c:pt>
                <c:pt idx="69">
                  <c:v>3681</c:v>
                </c:pt>
                <c:pt idx="70">
                  <c:v>3730</c:v>
                </c:pt>
                <c:pt idx="71">
                  <c:v>3760</c:v>
                </c:pt>
                <c:pt idx="72">
                  <c:v>3787</c:v>
                </c:pt>
                <c:pt idx="73">
                  <c:v>3821</c:v>
                </c:pt>
                <c:pt idx="74">
                  <c:v>3856</c:v>
                </c:pt>
                <c:pt idx="75">
                  <c:v>3894</c:v>
                </c:pt>
                <c:pt idx="76">
                  <c:v>3932</c:v>
                </c:pt>
                <c:pt idx="77">
                  <c:v>3961</c:v>
                </c:pt>
                <c:pt idx="78">
                  <c:v>3984</c:v>
                </c:pt>
                <c:pt idx="79">
                  <c:v>4008</c:v>
                </c:pt>
                <c:pt idx="80">
                  <c:v>4041</c:v>
                </c:pt>
                <c:pt idx="81">
                  <c:v>4059</c:v>
                </c:pt>
                <c:pt idx="82">
                  <c:v>4086</c:v>
                </c:pt>
                <c:pt idx="83">
                  <c:v>4110</c:v>
                </c:pt>
                <c:pt idx="84">
                  <c:v>4131</c:v>
                </c:pt>
                <c:pt idx="85">
                  <c:v>4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723.5173220917427</c:v>
                </c:pt>
                <c:pt idx="71">
                  <c:v>3766.8873740695308</c:v>
                </c:pt>
                <c:pt idx="72">
                  <c:v>3809.0595364443566</c:v>
                </c:pt>
                <c:pt idx="73">
                  <c:v>3850.0552167583119</c:v>
                </c:pt>
                <c:pt idx="74">
                  <c:v>3889.607817446536</c:v>
                </c:pt>
                <c:pt idx="75">
                  <c:v>3927.869459436853</c:v>
                </c:pt>
                <c:pt idx="76">
                  <c:v>3964.9630585196978</c:v>
                </c:pt>
                <c:pt idx="77">
                  <c:v>4000.8756163091098</c:v>
                </c:pt>
                <c:pt idx="78">
                  <c:v>4035.4435519988033</c:v>
                </c:pt>
                <c:pt idx="79">
                  <c:v>4068.6385212406294</c:v>
                </c:pt>
                <c:pt idx="80">
                  <c:v>4100.560245173403</c:v>
                </c:pt>
                <c:pt idx="81">
                  <c:v>4131.2929488830205</c:v>
                </c:pt>
                <c:pt idx="82">
                  <c:v>4160.9301938526642</c:v>
                </c:pt>
                <c:pt idx="83">
                  <c:v>4189.4805270508878</c:v>
                </c:pt>
                <c:pt idx="84">
                  <c:v>4216.9499212290511</c:v>
                </c:pt>
                <c:pt idx="85">
                  <c:v>4243.3525933902747</c:v>
                </c:pt>
                <c:pt idx="86">
                  <c:v>4268.7386725156166</c:v>
                </c:pt>
                <c:pt idx="87">
                  <c:v>4293.1742449053945</c:v>
                </c:pt>
                <c:pt idx="88">
                  <c:v>4316.70825341006</c:v>
                </c:pt>
                <c:pt idx="89">
                  <c:v>4339.3707539957377</c:v>
                </c:pt>
                <c:pt idx="90">
                  <c:v>4361.172506486083</c:v>
                </c:pt>
                <c:pt idx="91">
                  <c:v>4382.1390895046616</c:v>
                </c:pt>
                <c:pt idx="92">
                  <c:v>4402.3074886194727</c:v>
                </c:pt>
                <c:pt idx="93">
                  <c:v>4421.717912456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726.1531723513335</c:v>
                </c:pt>
                <c:pt idx="71">
                  <c:v>3773.1346941295487</c:v>
                </c:pt>
                <c:pt idx="72">
                  <c:v>3819.6446779730936</c:v>
                </c:pt>
                <c:pt idx="73">
                  <c:v>3865.7501606538121</c:v>
                </c:pt>
                <c:pt idx="74">
                  <c:v>3911.2271502379381</c:v>
                </c:pt>
                <c:pt idx="75">
                  <c:v>3956.1023800460484</c:v>
                </c:pt>
                <c:pt idx="76">
                  <c:v>4000.4175283390641</c:v>
                </c:pt>
                <c:pt idx="77">
                  <c:v>4044.1572492327232</c:v>
                </c:pt>
                <c:pt idx="78">
                  <c:v>4087.1697542646043</c:v>
                </c:pt>
                <c:pt idx="79">
                  <c:v>4129.4070691246079</c:v>
                </c:pt>
                <c:pt idx="80">
                  <c:v>4170.9193815141534</c:v>
                </c:pt>
                <c:pt idx="81">
                  <c:v>4211.729271288732</c:v>
                </c:pt>
                <c:pt idx="82">
                  <c:v>4251.8668870302045</c:v>
                </c:pt>
                <c:pt idx="83">
                  <c:v>4291.3194212840044</c:v>
                </c:pt>
                <c:pt idx="84">
                  <c:v>4330.0739819655319</c:v>
                </c:pt>
                <c:pt idx="85">
                  <c:v>4368.1239201780509</c:v>
                </c:pt>
                <c:pt idx="86">
                  <c:v>4405.4861752551551</c:v>
                </c:pt>
                <c:pt idx="87">
                  <c:v>4442.1934041835539</c:v>
                </c:pt>
                <c:pt idx="88">
                  <c:v>4478.2658221541169</c:v>
                </c:pt>
                <c:pt idx="89">
                  <c:v>4513.7093864375865</c:v>
                </c:pt>
                <c:pt idx="90">
                  <c:v>4548.5165081525283</c:v>
                </c:pt>
                <c:pt idx="91">
                  <c:v>4582.6923950314758</c:v>
                </c:pt>
                <c:pt idx="92">
                  <c:v>4616.2540675010068</c:v>
                </c:pt>
                <c:pt idx="93">
                  <c:v>4649.2154947419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731.4248728705165</c:v>
                </c:pt>
                <c:pt idx="71">
                  <c:v>3785.8148945307958</c:v>
                </c:pt>
                <c:pt idx="72">
                  <c:v>3841.5216671396338</c:v>
                </c:pt>
                <c:pt idx="73">
                  <c:v>3898.8183513152035</c:v>
                </c:pt>
                <c:pt idx="74">
                  <c:v>3957.6308526768007</c:v>
                </c:pt>
                <c:pt idx="75">
                  <c:v>4017.6824681005101</c:v>
                </c:pt>
                <c:pt idx="76">
                  <c:v>4078.8943353506775</c:v>
                </c:pt>
                <c:pt idx="77">
                  <c:v>4141.3882425647971</c:v>
                </c:pt>
                <c:pt idx="78">
                  <c:v>4205.2189693766541</c:v>
                </c:pt>
                <c:pt idx="79">
                  <c:v>4270.3850057760619</c:v>
                </c:pt>
                <c:pt idx="80">
                  <c:v>4336.8764518081407</c:v>
                </c:pt>
                <c:pt idx="81">
                  <c:v>4404.6027391623611</c:v>
                </c:pt>
                <c:pt idx="82">
                  <c:v>4473.529178462506</c:v>
                </c:pt>
                <c:pt idx="83">
                  <c:v>4543.704397320018</c:v>
                </c:pt>
                <c:pt idx="84">
                  <c:v>4615.1989069051479</c:v>
                </c:pt>
                <c:pt idx="85">
                  <c:v>4688.0402662461047</c:v>
                </c:pt>
                <c:pt idx="86">
                  <c:v>4762.2049979375261</c:v>
                </c:pt>
                <c:pt idx="87">
                  <c:v>4837.6921016838796</c:v>
                </c:pt>
                <c:pt idx="88">
                  <c:v>4914.5268348801847</c:v>
                </c:pt>
                <c:pt idx="89">
                  <c:v>4992.7503373632371</c:v>
                </c:pt>
                <c:pt idx="90">
                  <c:v>5072.3947631739411</c:v>
                </c:pt>
                <c:pt idx="91">
                  <c:v>5153.4815556493395</c:v>
                </c:pt>
                <c:pt idx="92">
                  <c:v>5236.0182701515123</c:v>
                </c:pt>
                <c:pt idx="93">
                  <c:v>5320.0195102710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732.7416801672925</c:v>
                </c:pt>
                <c:pt idx="71">
                  <c:v>3789.0221347282463</c:v>
                </c:pt>
                <c:pt idx="72">
                  <c:v>3847.1375014135269</c:v>
                </c:pt>
                <c:pt idx="73">
                  <c:v>3907.4318344865569</c:v>
                </c:pt>
                <c:pt idx="74">
                  <c:v>3969.8865813851662</c:v>
                </c:pt>
                <c:pt idx="75">
                  <c:v>4034.1413391722881</c:v>
                </c:pt>
                <c:pt idx="76">
                  <c:v>4100.10137705544</c:v>
                </c:pt>
                <c:pt idx="77">
                  <c:v>4167.9552342457027</c:v>
                </c:pt>
                <c:pt idx="78">
                  <c:v>4237.8641593351731</c:v>
                </c:pt>
                <c:pt idx="79">
                  <c:v>4309.8616517889486</c:v>
                </c:pt>
                <c:pt idx="80">
                  <c:v>4383.9331069840173</c:v>
                </c:pt>
                <c:pt idx="81">
                  <c:v>4459.9718013527272</c:v>
                </c:pt>
                <c:pt idx="82">
                  <c:v>4537.9528415255136</c:v>
                </c:pt>
                <c:pt idx="83">
                  <c:v>4617.9794511793889</c:v>
                </c:pt>
                <c:pt idx="84">
                  <c:v>4700.1862909404335</c:v>
                </c:pt>
                <c:pt idx="85">
                  <c:v>4784.6351127279777</c:v>
                </c:pt>
                <c:pt idx="86">
                  <c:v>4871.3166229433864</c:v>
                </c:pt>
                <c:pt idx="87">
                  <c:v>4960.2412631627776</c:v>
                </c:pt>
                <c:pt idx="88">
                  <c:v>5051.4705765227109</c:v>
                </c:pt>
                <c:pt idx="89">
                  <c:v>5145.0979016530118</c:v>
                </c:pt>
                <c:pt idx="90">
                  <c:v>5241.2022980245092</c:v>
                </c:pt>
                <c:pt idx="91">
                  <c:v>5339.8452739154718</c:v>
                </c:pt>
                <c:pt idx="92">
                  <c:v>5441.0658396579238</c:v>
                </c:pt>
                <c:pt idx="93">
                  <c:v>5544.9095350820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59</c:v>
                </c:pt>
                <c:pt idx="2">
                  <c:v>92</c:v>
                </c:pt>
                <c:pt idx="3">
                  <c:v>138</c:v>
                </c:pt>
                <c:pt idx="4">
                  <c:v>212</c:v>
                </c:pt>
                <c:pt idx="5">
                  <c:v>250</c:v>
                </c:pt>
                <c:pt idx="6">
                  <c:v>297</c:v>
                </c:pt>
                <c:pt idx="7">
                  <c:v>339</c:v>
                </c:pt>
                <c:pt idx="8">
                  <c:v>355</c:v>
                </c:pt>
                <c:pt idx="9">
                  <c:v>382</c:v>
                </c:pt>
                <c:pt idx="10">
                  <c:v>409</c:v>
                </c:pt>
                <c:pt idx="11">
                  <c:v>462</c:v>
                </c:pt>
                <c:pt idx="12">
                  <c:v>494</c:v>
                </c:pt>
                <c:pt idx="13">
                  <c:v>535</c:v>
                </c:pt>
                <c:pt idx="14">
                  <c:v>576</c:v>
                </c:pt>
                <c:pt idx="15">
                  <c:v>597</c:v>
                </c:pt>
                <c:pt idx="16">
                  <c:v>608</c:v>
                </c:pt>
                <c:pt idx="17">
                  <c:v>661</c:v>
                </c:pt>
                <c:pt idx="18">
                  <c:v>699</c:v>
                </c:pt>
                <c:pt idx="19">
                  <c:v>737</c:v>
                </c:pt>
                <c:pt idx="20">
                  <c:v>769</c:v>
                </c:pt>
                <c:pt idx="21">
                  <c:v>810</c:v>
                </c:pt>
                <c:pt idx="22">
                  <c:v>821</c:v>
                </c:pt>
                <c:pt idx="23">
                  <c:v>833</c:v>
                </c:pt>
                <c:pt idx="24">
                  <c:v>875</c:v>
                </c:pt>
                <c:pt idx="25">
                  <c:v>904</c:v>
                </c:pt>
                <c:pt idx="26">
                  <c:v>929</c:v>
                </c:pt>
                <c:pt idx="27">
                  <c:v>955</c:v>
                </c:pt>
                <c:pt idx="28">
                  <c:v>1000</c:v>
                </c:pt>
                <c:pt idx="29">
                  <c:v>1016</c:v>
                </c:pt>
                <c:pt idx="30">
                  <c:v>1034</c:v>
                </c:pt>
                <c:pt idx="31">
                  <c:v>1075</c:v>
                </c:pt>
                <c:pt idx="32">
                  <c:v>1105</c:v>
                </c:pt>
                <c:pt idx="33">
                  <c:v>1144</c:v>
                </c:pt>
                <c:pt idx="34">
                  <c:v>1170</c:v>
                </c:pt>
                <c:pt idx="35">
                  <c:v>1211</c:v>
                </c:pt>
                <c:pt idx="36">
                  <c:v>1234</c:v>
                </c:pt>
                <c:pt idx="37">
                  <c:v>1265</c:v>
                </c:pt>
                <c:pt idx="38">
                  <c:v>1318</c:v>
                </c:pt>
                <c:pt idx="39">
                  <c:v>1361</c:v>
                </c:pt>
                <c:pt idx="40">
                  <c:v>1395</c:v>
                </c:pt>
                <c:pt idx="41">
                  <c:v>1438</c:v>
                </c:pt>
                <c:pt idx="42">
                  <c:v>1479</c:v>
                </c:pt>
                <c:pt idx="43">
                  <c:v>1504</c:v>
                </c:pt>
                <c:pt idx="44">
                  <c:v>1550</c:v>
                </c:pt>
                <c:pt idx="45">
                  <c:v>1575</c:v>
                </c:pt>
                <c:pt idx="46">
                  <c:v>1632</c:v>
                </c:pt>
                <c:pt idx="47">
                  <c:v>1660</c:v>
                </c:pt>
                <c:pt idx="48">
                  <c:v>1710</c:v>
                </c:pt>
                <c:pt idx="49">
                  <c:v>1761</c:v>
                </c:pt>
                <c:pt idx="50">
                  <c:v>1801</c:v>
                </c:pt>
                <c:pt idx="51">
                  <c:v>1826</c:v>
                </c:pt>
                <c:pt idx="52">
                  <c:v>1896</c:v>
                </c:pt>
                <c:pt idx="53">
                  <c:v>1944</c:v>
                </c:pt>
                <c:pt idx="54">
                  <c:v>2000</c:v>
                </c:pt>
                <c:pt idx="55">
                  <c:v>2059</c:v>
                </c:pt>
                <c:pt idx="56">
                  <c:v>2117</c:v>
                </c:pt>
                <c:pt idx="57">
                  <c:v>2172</c:v>
                </c:pt>
                <c:pt idx="58">
                  <c:v>2216</c:v>
                </c:pt>
                <c:pt idx="59">
                  <c:v>2271</c:v>
                </c:pt>
                <c:pt idx="60">
                  <c:v>2342</c:v>
                </c:pt>
                <c:pt idx="61">
                  <c:v>2393</c:v>
                </c:pt>
                <c:pt idx="62">
                  <c:v>2448</c:v>
                </c:pt>
                <c:pt idx="63">
                  <c:v>2503</c:v>
                </c:pt>
                <c:pt idx="64">
                  <c:v>2559</c:v>
                </c:pt>
                <c:pt idx="65">
                  <c:v>2601</c:v>
                </c:pt>
                <c:pt idx="66">
                  <c:v>2677</c:v>
                </c:pt>
                <c:pt idx="67">
                  <c:v>2722</c:v>
                </c:pt>
                <c:pt idx="68">
                  <c:v>2782</c:v>
                </c:pt>
                <c:pt idx="69">
                  <c:v>2858</c:v>
                </c:pt>
                <c:pt idx="70">
                  <c:v>2920</c:v>
                </c:pt>
                <c:pt idx="71">
                  <c:v>2968</c:v>
                </c:pt>
                <c:pt idx="72">
                  <c:v>2993</c:v>
                </c:pt>
                <c:pt idx="73">
                  <c:v>3045</c:v>
                </c:pt>
                <c:pt idx="74">
                  <c:v>3098</c:v>
                </c:pt>
                <c:pt idx="75">
                  <c:v>3140</c:v>
                </c:pt>
                <c:pt idx="76">
                  <c:v>3185</c:v>
                </c:pt>
                <c:pt idx="77">
                  <c:v>3236</c:v>
                </c:pt>
                <c:pt idx="78">
                  <c:v>3267</c:v>
                </c:pt>
                <c:pt idx="79">
                  <c:v>3308</c:v>
                </c:pt>
                <c:pt idx="80">
                  <c:v>3346</c:v>
                </c:pt>
                <c:pt idx="81">
                  <c:v>3404</c:v>
                </c:pt>
                <c:pt idx="82">
                  <c:v>3453</c:v>
                </c:pt>
                <c:pt idx="83">
                  <c:v>3505</c:v>
                </c:pt>
                <c:pt idx="84">
                  <c:v>3535</c:v>
                </c:pt>
                <c:pt idx="85">
                  <c:v>3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887.8269655443019</c:v>
                </c:pt>
                <c:pt idx="71">
                  <c:v>2933.4419727825366</c:v>
                </c:pt>
                <c:pt idx="72">
                  <c:v>2977.7842285201596</c:v>
                </c:pt>
                <c:pt idx="73">
                  <c:v>3020.8582867039013</c:v>
                </c:pt>
                <c:pt idx="74">
                  <c:v>3062.3891156853051</c:v>
                </c:pt>
                <c:pt idx="75">
                  <c:v>3102.5549979521375</c:v>
                </c:pt>
                <c:pt idx="76">
                  <c:v>3141.4921362518035</c:v>
                </c:pt>
                <c:pt idx="77">
                  <c:v>3179.1922874115035</c:v>
                </c:pt>
                <c:pt idx="78">
                  <c:v>3215.4845012369365</c:v>
                </c:pt>
                <c:pt idx="79">
                  <c:v>3250.3356257414098</c:v>
                </c:pt>
                <c:pt idx="80">
                  <c:v>3283.8479022004321</c:v>
                </c:pt>
                <c:pt idx="81">
                  <c:v>3316.1131578599484</c:v>
                </c:pt>
                <c:pt idx="82">
                  <c:v>3347.2294600368568</c:v>
                </c:pt>
                <c:pt idx="83">
                  <c:v>3377.2037456709791</c:v>
                </c:pt>
                <c:pt idx="84">
                  <c:v>3406.0423306290177</c:v>
                </c:pt>
                <c:pt idx="85">
                  <c:v>3433.7613957562321</c:v>
                </c:pt>
                <c:pt idx="86">
                  <c:v>3460.4136154456628</c:v>
                </c:pt>
                <c:pt idx="87">
                  <c:v>3486.0683487452116</c:v>
                </c:pt>
                <c:pt idx="88">
                  <c:v>3510.777126615315</c:v>
                </c:pt>
                <c:pt idx="89">
                  <c:v>3534.570704694981</c:v>
                </c:pt>
                <c:pt idx="90">
                  <c:v>3557.4598219957434</c:v>
                </c:pt>
                <c:pt idx="91">
                  <c:v>3579.4723041504594</c:v>
                </c:pt>
                <c:pt idx="92">
                  <c:v>3600.647285926912</c:v>
                </c:pt>
                <c:pt idx="93">
                  <c:v>3621.0267522264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890.6314950281035</c:v>
                </c:pt>
                <c:pt idx="71">
                  <c:v>2940.0892305257285</c:v>
                </c:pt>
                <c:pt idx="72">
                  <c:v>2989.043327786073</c:v>
                </c:pt>
                <c:pt idx="73">
                  <c:v>3037.5439402148008</c:v>
                </c:pt>
                <c:pt idx="74">
                  <c:v>3085.3600310698566</c:v>
                </c:pt>
                <c:pt idx="75">
                  <c:v>3132.5338785916033</c:v>
                </c:pt>
                <c:pt idx="76">
                  <c:v>3179.1141715336798</c:v>
                </c:pt>
                <c:pt idx="77">
                  <c:v>3225.088359875469</c:v>
                </c:pt>
                <c:pt idx="78">
                  <c:v>3270.2999031176341</c:v>
                </c:pt>
                <c:pt idx="79">
                  <c:v>3314.6962090158045</c:v>
                </c:pt>
                <c:pt idx="80">
                  <c:v>3358.3274375922165</c:v>
                </c:pt>
                <c:pt idx="81">
                  <c:v>3401.2215563475656</c:v>
                </c:pt>
                <c:pt idx="82">
                  <c:v>3443.4095587938427</c:v>
                </c:pt>
                <c:pt idx="83">
                  <c:v>3484.8762142441001</c:v>
                </c:pt>
                <c:pt idx="84">
                  <c:v>3525.608319742063</c:v>
                </c:pt>
                <c:pt idx="85">
                  <c:v>3565.6003640197755</c:v>
                </c:pt>
                <c:pt idx="86">
                  <c:v>3604.8700438351275</c:v>
                </c:pt>
                <c:pt idx="87">
                  <c:v>3643.4514880367415</c:v>
                </c:pt>
                <c:pt idx="88">
                  <c:v>3681.3660581446452</c:v>
                </c:pt>
                <c:pt idx="89">
                  <c:v>3718.6194231433296</c:v>
                </c:pt>
                <c:pt idx="90">
                  <c:v>3755.2030562040909</c:v>
                </c:pt>
                <c:pt idx="91">
                  <c:v>3791.1234291791252</c:v>
                </c:pt>
                <c:pt idx="92">
                  <c:v>3826.3987560443356</c:v>
                </c:pt>
                <c:pt idx="93">
                  <c:v>3861.0433204118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896.2405539957081</c:v>
                </c:pt>
                <c:pt idx="71">
                  <c:v>2953.581181081795</c:v>
                </c:pt>
                <c:pt idx="72">
                  <c:v>3012.3134677670664</c:v>
                </c:pt>
                <c:pt idx="73">
                  <c:v>3072.7007250316988</c:v>
                </c:pt>
                <c:pt idx="74">
                  <c:v>3134.6681492225016</c:v>
                </c:pt>
                <c:pt idx="75">
                  <c:v>3197.9291604391833</c:v>
                </c:pt>
                <c:pt idx="76">
                  <c:v>3262.4009863528577</c:v>
                </c:pt>
                <c:pt idx="77">
                  <c:v>3328.2123691615452</c:v>
                </c:pt>
                <c:pt idx="78">
                  <c:v>3395.4292345798353</c:v>
                </c:pt>
                <c:pt idx="79">
                  <c:v>3464.0502614997058</c:v>
                </c:pt>
                <c:pt idx="80">
                  <c:v>3534.0618432710135</c:v>
                </c:pt>
                <c:pt idx="81">
                  <c:v>3605.3739428503718</c:v>
                </c:pt>
                <c:pt idx="82">
                  <c:v>3677.9484364556097</c:v>
                </c:pt>
                <c:pt idx="83">
                  <c:v>3751.8356181100353</c:v>
                </c:pt>
                <c:pt idx="84">
                  <c:v>3827.1111617128327</c:v>
                </c:pt>
                <c:pt idx="85">
                  <c:v>3903.8060019335635</c:v>
                </c:pt>
                <c:pt idx="86">
                  <c:v>3981.8945677234051</c:v>
                </c:pt>
                <c:pt idx="87">
                  <c:v>4061.3749675632616</c:v>
                </c:pt>
                <c:pt idx="88">
                  <c:v>4142.273915661588</c:v>
                </c:pt>
                <c:pt idx="89">
                  <c:v>4224.6348395754385</c:v>
                </c:pt>
                <c:pt idx="90">
                  <c:v>4308.4912122166497</c:v>
                </c:pt>
                <c:pt idx="91">
                  <c:v>4393.8666268403467</c:v>
                </c:pt>
                <c:pt idx="92">
                  <c:v>4480.7691156941528</c:v>
                </c:pt>
                <c:pt idx="93">
                  <c:v>4569.213373860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897.6416293697198</c:v>
                </c:pt>
                <c:pt idx="71">
                  <c:v>2956.9937387082318</c:v>
                </c:pt>
                <c:pt idx="72">
                  <c:v>3018.2869741160339</c:v>
                </c:pt>
                <c:pt idx="73">
                  <c:v>3081.8584836910168</c:v>
                </c:pt>
                <c:pt idx="74">
                  <c:v>3147.6916218290808</c:v>
                </c:pt>
                <c:pt idx="75">
                  <c:v>3215.4090861300588</c:v>
                </c:pt>
                <c:pt idx="76">
                  <c:v>3284.9101993685458</c:v>
                </c:pt>
                <c:pt idx="77">
                  <c:v>3356.3933568915081</c:v>
                </c:pt>
                <c:pt idx="78">
                  <c:v>3430.0382025066228</c:v>
                </c:pt>
                <c:pt idx="79">
                  <c:v>3505.880878537143</c:v>
                </c:pt>
                <c:pt idx="80">
                  <c:v>3583.9025420399048</c:v>
                </c:pt>
                <c:pt idx="81">
                  <c:v>3663.9962656886587</c:v>
                </c:pt>
                <c:pt idx="82">
                  <c:v>3746.13405065391</c:v>
                </c:pt>
                <c:pt idx="83">
                  <c:v>3830.4240335321783</c:v>
                </c:pt>
                <c:pt idx="84">
                  <c:v>3917.0098712020399</c:v>
                </c:pt>
                <c:pt idx="85">
                  <c:v>4005.9585635264821</c:v>
                </c:pt>
                <c:pt idx="86">
                  <c:v>4097.2592282996711</c:v>
                </c:pt>
                <c:pt idx="87">
                  <c:v>4190.9217647554469</c:v>
                </c:pt>
                <c:pt idx="88">
                  <c:v>4287.0111509060416</c:v>
                </c:pt>
                <c:pt idx="89">
                  <c:v>4385.6260895861196</c:v>
                </c:pt>
                <c:pt idx="90">
                  <c:v>4486.8495251359191</c:v>
                </c:pt>
                <c:pt idx="91">
                  <c:v>4590.7472523537153</c:v>
                </c:pt>
                <c:pt idx="92">
                  <c:v>4697.3603582881933</c:v>
                </c:pt>
                <c:pt idx="93">
                  <c:v>4806.7359929254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7</c:v>
                </c:pt>
                <c:pt idx="2">
                  <c:v>91</c:v>
                </c:pt>
                <c:pt idx="3">
                  <c:v>175</c:v>
                </c:pt>
                <c:pt idx="4">
                  <c:v>216</c:v>
                </c:pt>
                <c:pt idx="5">
                  <c:v>256</c:v>
                </c:pt>
                <c:pt idx="6">
                  <c:v>306</c:v>
                </c:pt>
                <c:pt idx="7">
                  <c:v>345</c:v>
                </c:pt>
                <c:pt idx="8">
                  <c:v>366</c:v>
                </c:pt>
                <c:pt idx="9">
                  <c:v>386</c:v>
                </c:pt>
                <c:pt idx="10">
                  <c:v>428</c:v>
                </c:pt>
                <c:pt idx="11">
                  <c:v>458</c:v>
                </c:pt>
                <c:pt idx="12">
                  <c:v>489</c:v>
                </c:pt>
                <c:pt idx="13">
                  <c:v>525</c:v>
                </c:pt>
                <c:pt idx="14">
                  <c:v>551</c:v>
                </c:pt>
                <c:pt idx="15">
                  <c:v>568</c:v>
                </c:pt>
                <c:pt idx="16">
                  <c:v>587</c:v>
                </c:pt>
                <c:pt idx="17">
                  <c:v>622</c:v>
                </c:pt>
                <c:pt idx="18">
                  <c:v>659</c:v>
                </c:pt>
                <c:pt idx="19">
                  <c:v>674</c:v>
                </c:pt>
                <c:pt idx="20">
                  <c:v>693</c:v>
                </c:pt>
                <c:pt idx="21">
                  <c:v>708</c:v>
                </c:pt>
                <c:pt idx="22">
                  <c:v>723</c:v>
                </c:pt>
                <c:pt idx="23">
                  <c:v>745</c:v>
                </c:pt>
                <c:pt idx="24">
                  <c:v>772</c:v>
                </c:pt>
                <c:pt idx="25">
                  <c:v>794</c:v>
                </c:pt>
                <c:pt idx="26">
                  <c:v>824</c:v>
                </c:pt>
                <c:pt idx="27">
                  <c:v>839</c:v>
                </c:pt>
                <c:pt idx="28">
                  <c:v>850</c:v>
                </c:pt>
                <c:pt idx="29">
                  <c:v>866</c:v>
                </c:pt>
                <c:pt idx="30">
                  <c:v>878</c:v>
                </c:pt>
                <c:pt idx="31">
                  <c:v>896</c:v>
                </c:pt>
                <c:pt idx="32">
                  <c:v>914</c:v>
                </c:pt>
                <c:pt idx="33">
                  <c:v>929</c:v>
                </c:pt>
                <c:pt idx="34">
                  <c:v>952</c:v>
                </c:pt>
                <c:pt idx="35">
                  <c:v>968</c:v>
                </c:pt>
                <c:pt idx="36">
                  <c:v>1007</c:v>
                </c:pt>
                <c:pt idx="37">
                  <c:v>1024</c:v>
                </c:pt>
                <c:pt idx="38">
                  <c:v>1044</c:v>
                </c:pt>
                <c:pt idx="39">
                  <c:v>1063</c:v>
                </c:pt>
                <c:pt idx="40">
                  <c:v>1090</c:v>
                </c:pt>
                <c:pt idx="41">
                  <c:v>1104</c:v>
                </c:pt>
                <c:pt idx="42">
                  <c:v>1122</c:v>
                </c:pt>
                <c:pt idx="43">
                  <c:v>1135</c:v>
                </c:pt>
                <c:pt idx="44">
                  <c:v>1162</c:v>
                </c:pt>
                <c:pt idx="45">
                  <c:v>1178</c:v>
                </c:pt>
                <c:pt idx="46">
                  <c:v>1205</c:v>
                </c:pt>
                <c:pt idx="47">
                  <c:v>1226</c:v>
                </c:pt>
                <c:pt idx="48">
                  <c:v>1235</c:v>
                </c:pt>
                <c:pt idx="49">
                  <c:v>1255</c:v>
                </c:pt>
                <c:pt idx="50">
                  <c:v>1271</c:v>
                </c:pt>
                <c:pt idx="51">
                  <c:v>1293</c:v>
                </c:pt>
                <c:pt idx="52">
                  <c:v>1311</c:v>
                </c:pt>
                <c:pt idx="53">
                  <c:v>1366</c:v>
                </c:pt>
                <c:pt idx="54">
                  <c:v>1393</c:v>
                </c:pt>
                <c:pt idx="55">
                  <c:v>1425</c:v>
                </c:pt>
                <c:pt idx="56">
                  <c:v>1450</c:v>
                </c:pt>
                <c:pt idx="57">
                  <c:v>1464</c:v>
                </c:pt>
                <c:pt idx="58">
                  <c:v>1488</c:v>
                </c:pt>
                <c:pt idx="59">
                  <c:v>1535</c:v>
                </c:pt>
                <c:pt idx="60">
                  <c:v>1577</c:v>
                </c:pt>
                <c:pt idx="61">
                  <c:v>1603</c:v>
                </c:pt>
                <c:pt idx="62">
                  <c:v>1646</c:v>
                </c:pt>
                <c:pt idx="63">
                  <c:v>1676</c:v>
                </c:pt>
                <c:pt idx="64">
                  <c:v>1699</c:v>
                </c:pt>
                <c:pt idx="65">
                  <c:v>1731</c:v>
                </c:pt>
                <c:pt idx="66">
                  <c:v>1785</c:v>
                </c:pt>
                <c:pt idx="67">
                  <c:v>1826</c:v>
                </c:pt>
                <c:pt idx="68">
                  <c:v>1860</c:v>
                </c:pt>
                <c:pt idx="69">
                  <c:v>1889</c:v>
                </c:pt>
                <c:pt idx="70">
                  <c:v>1937</c:v>
                </c:pt>
                <c:pt idx="71">
                  <c:v>1964</c:v>
                </c:pt>
                <c:pt idx="72">
                  <c:v>1993</c:v>
                </c:pt>
                <c:pt idx="73">
                  <c:v>2045</c:v>
                </c:pt>
                <c:pt idx="74">
                  <c:v>2077</c:v>
                </c:pt>
                <c:pt idx="75">
                  <c:v>2110</c:v>
                </c:pt>
                <c:pt idx="76">
                  <c:v>2142</c:v>
                </c:pt>
                <c:pt idx="77">
                  <c:v>2177</c:v>
                </c:pt>
                <c:pt idx="78">
                  <c:v>2204</c:v>
                </c:pt>
                <c:pt idx="79">
                  <c:v>2229</c:v>
                </c:pt>
                <c:pt idx="80">
                  <c:v>2268</c:v>
                </c:pt>
                <c:pt idx="81">
                  <c:v>2294</c:v>
                </c:pt>
                <c:pt idx="82">
                  <c:v>2320</c:v>
                </c:pt>
                <c:pt idx="83">
                  <c:v>2356</c:v>
                </c:pt>
                <c:pt idx="84">
                  <c:v>2375</c:v>
                </c:pt>
                <c:pt idx="85">
                  <c:v>2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886.3255660191946</c:v>
                </c:pt>
                <c:pt idx="71">
                  <c:v>1910.0243571819271</c:v>
                </c:pt>
                <c:pt idx="72">
                  <c:v>1933.0688991782004</c:v>
                </c:pt>
                <c:pt idx="73">
                  <c:v>1955.4713316132179</c:v>
                </c:pt>
                <c:pt idx="74">
                  <c:v>1977.0858450130336</c:v>
                </c:pt>
                <c:pt idx="75">
                  <c:v>1997.9951132985327</c:v>
                </c:pt>
                <c:pt idx="76">
                  <c:v>2018.2661312766331</c:v>
                </c:pt>
                <c:pt idx="77">
                  <c:v>2037.8916626880339</c:v>
                </c:pt>
                <c:pt idx="78">
                  <c:v>2056.7822947097543</c:v>
                </c:pt>
                <c:pt idx="79">
                  <c:v>2074.9226212494859</c:v>
                </c:pt>
                <c:pt idx="80">
                  <c:v>2092.3671981272146</c:v>
                </c:pt>
                <c:pt idx="81">
                  <c:v>2109.1619688786695</c:v>
                </c:pt>
                <c:pt idx="82">
                  <c:v>2125.3580668011341</c:v>
                </c:pt>
                <c:pt idx="83">
                  <c:v>2140.960212720659</c:v>
                </c:pt>
                <c:pt idx="84">
                  <c:v>2155.9716695055645</c:v>
                </c:pt>
                <c:pt idx="85">
                  <c:v>2170.4001755780096</c:v>
                </c:pt>
                <c:pt idx="86">
                  <c:v>2184.2731242406553</c:v>
                </c:pt>
                <c:pt idx="87">
                  <c:v>2197.6266308155004</c:v>
                </c:pt>
                <c:pt idx="88">
                  <c:v>2210.4874379046787</c:v>
                </c:pt>
                <c:pt idx="89">
                  <c:v>2222.8719901138625</c:v>
                </c:pt>
                <c:pt idx="90">
                  <c:v>2234.78618116917</c:v>
                </c:pt>
                <c:pt idx="91">
                  <c:v>2246.2439653487527</c:v>
                </c:pt>
                <c:pt idx="92">
                  <c:v>2257.265546982504</c:v>
                </c:pt>
                <c:pt idx="93">
                  <c:v>2267.8729048603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887.7650862990154</c:v>
                </c:pt>
                <c:pt idx="71">
                  <c:v>1913.4362105196333</c:v>
                </c:pt>
                <c:pt idx="72">
                  <c:v>1938.8498604663537</c:v>
                </c:pt>
                <c:pt idx="73">
                  <c:v>1964.0431678549833</c:v>
                </c:pt>
                <c:pt idx="74">
                  <c:v>1988.8936243739095</c:v>
                </c:pt>
                <c:pt idx="75">
                  <c:v>2013.41548962306</c:v>
                </c:pt>
                <c:pt idx="76">
                  <c:v>2037.6314185640958</c:v>
                </c:pt>
                <c:pt idx="77">
                  <c:v>2061.5329373976438</c:v>
                </c:pt>
                <c:pt idx="78">
                  <c:v>2085.0370276482581</c:v>
                </c:pt>
                <c:pt idx="79">
                  <c:v>2108.1175271197999</c:v>
                </c:pt>
                <c:pt idx="80">
                  <c:v>2130.8019245712403</c:v>
                </c:pt>
                <c:pt idx="81">
                  <c:v>2153.1024545833402</c:v>
                </c:pt>
                <c:pt idx="82">
                  <c:v>2175.0356089147676</c:v>
                </c:pt>
                <c:pt idx="83">
                  <c:v>2196.5944324612342</c:v>
                </c:pt>
                <c:pt idx="84">
                  <c:v>2217.7718718046685</c:v>
                </c:pt>
                <c:pt idx="85">
                  <c:v>2238.5642573237692</c:v>
                </c:pt>
                <c:pt idx="86">
                  <c:v>2258.9808481523401</c:v>
                </c:pt>
                <c:pt idx="87">
                  <c:v>2279.0394944943373</c:v>
                </c:pt>
                <c:pt idx="88">
                  <c:v>2298.7512401219046</c:v>
                </c:pt>
                <c:pt idx="89">
                  <c:v>2318.1193549562381</c:v>
                </c:pt>
                <c:pt idx="90">
                  <c:v>2337.1397055978782</c:v>
                </c:pt>
                <c:pt idx="91">
                  <c:v>2355.8151132545945</c:v>
                </c:pt>
                <c:pt idx="92">
                  <c:v>2374.1548707471266</c:v>
                </c:pt>
                <c:pt idx="93">
                  <c:v>2392.16662133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890.6441268586575</c:v>
                </c:pt>
                <c:pt idx="71">
                  <c:v>1920.3612574691974</c:v>
                </c:pt>
                <c:pt idx="72">
                  <c:v>1950.7977371041122</c:v>
                </c:pt>
                <c:pt idx="73">
                  <c:v>1982.1034196143248</c:v>
                </c:pt>
                <c:pt idx="74">
                  <c:v>2014.2377405501827</c:v>
                </c:pt>
                <c:pt idx="75">
                  <c:v>2047.0493910563164</c:v>
                </c:pt>
                <c:pt idx="76">
                  <c:v>2080.4952740390986</c:v>
                </c:pt>
                <c:pt idx="77">
                  <c:v>2114.6419224651604</c:v>
                </c:pt>
                <c:pt idx="78">
                  <c:v>2149.519065259286</c:v>
                </c:pt>
                <c:pt idx="79">
                  <c:v>2185.125870733892</c:v>
                </c:pt>
                <c:pt idx="80">
                  <c:v>2221.4570078097349</c:v>
                </c:pt>
                <c:pt idx="81">
                  <c:v>2258.4628586601134</c:v>
                </c:pt>
                <c:pt idx="82">
                  <c:v>2296.1245082063861</c:v>
                </c:pt>
                <c:pt idx="83">
                  <c:v>2334.4685490651896</c:v>
                </c:pt>
                <c:pt idx="84">
                  <c:v>2373.5334735927509</c:v>
                </c:pt>
                <c:pt idx="85">
                  <c:v>2413.3342929827099</c:v>
                </c:pt>
                <c:pt idx="86">
                  <c:v>2453.8582000329902</c:v>
                </c:pt>
                <c:pt idx="87">
                  <c:v>2495.1046687992593</c:v>
                </c:pt>
                <c:pt idx="88">
                  <c:v>2537.0874970588761</c:v>
                </c:pt>
                <c:pt idx="89">
                  <c:v>2579.8291610500055</c:v>
                </c:pt>
                <c:pt idx="90">
                  <c:v>2623.347239273829</c:v>
                </c:pt>
                <c:pt idx="91">
                  <c:v>2667.6534234778132</c:v>
                </c:pt>
                <c:pt idx="92">
                  <c:v>2712.7518400442304</c:v>
                </c:pt>
                <c:pt idx="93">
                  <c:v>2758.6504851887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891.3632765149887</c:v>
                </c:pt>
                <c:pt idx="71">
                  <c:v>1922.1128298835088</c:v>
                </c:pt>
                <c:pt idx="72">
                  <c:v>1953.8647619102344</c:v>
                </c:pt>
                <c:pt idx="73">
                  <c:v>1986.8076828769131</c:v>
                </c:pt>
                <c:pt idx="74">
                  <c:v>2020.9313845351458</c:v>
                </c:pt>
                <c:pt idx="75">
                  <c:v>2056.0388879342599</c:v>
                </c:pt>
                <c:pt idx="76">
                  <c:v>2092.0784547768367</c:v>
                </c:pt>
                <c:pt idx="77">
                  <c:v>2129.1531065695294</c:v>
                </c:pt>
                <c:pt idx="78">
                  <c:v>2167.3507075472107</c:v>
                </c:pt>
                <c:pt idx="79">
                  <c:v>2206.6895405387977</c:v>
                </c:pt>
                <c:pt idx="80">
                  <c:v>2247.1617107699344</c:v>
                </c:pt>
                <c:pt idx="81">
                  <c:v>2288.7087701721034</c:v>
                </c:pt>
                <c:pt idx="82">
                  <c:v>2331.3171609013307</c:v>
                </c:pt>
                <c:pt idx="83">
                  <c:v>2375.0432982774118</c:v>
                </c:pt>
                <c:pt idx="84">
                  <c:v>2419.9607153638758</c:v>
                </c:pt>
                <c:pt idx="85">
                  <c:v>2466.1031049312164</c:v>
                </c:pt>
                <c:pt idx="86">
                  <c:v>2513.4654159024817</c:v>
                </c:pt>
                <c:pt idx="87">
                  <c:v>2562.0533805268697</c:v>
                </c:pt>
                <c:pt idx="88">
                  <c:v>2611.9006218226318</c:v>
                </c:pt>
                <c:pt idx="89">
                  <c:v>2663.0581299141868</c:v>
                </c:pt>
                <c:pt idx="90">
                  <c:v>2715.5691105424198</c:v>
                </c:pt>
                <c:pt idx="91">
                  <c:v>2769.4671466841119</c:v>
                </c:pt>
                <c:pt idx="92">
                  <c:v>2824.7735534264639</c:v>
                </c:pt>
                <c:pt idx="93">
                  <c:v>2881.5132335752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</c:v>
                </c:pt>
                <c:pt idx="1">
                  <c:v>164</c:v>
                </c:pt>
                <c:pt idx="2">
                  <c:v>224</c:v>
                </c:pt>
                <c:pt idx="3">
                  <c:v>357</c:v>
                </c:pt>
                <c:pt idx="4">
                  <c:v>484</c:v>
                </c:pt>
                <c:pt idx="5">
                  <c:v>600</c:v>
                </c:pt>
                <c:pt idx="6">
                  <c:v>711</c:v>
                </c:pt>
                <c:pt idx="7">
                  <c:v>805</c:v>
                </c:pt>
                <c:pt idx="8">
                  <c:v>879</c:v>
                </c:pt>
                <c:pt idx="9">
                  <c:v>948</c:v>
                </c:pt>
                <c:pt idx="10">
                  <c:v>1057</c:v>
                </c:pt>
                <c:pt idx="11">
                  <c:v>1156</c:v>
                </c:pt>
                <c:pt idx="12">
                  <c:v>1241</c:v>
                </c:pt>
                <c:pt idx="13">
                  <c:v>1333</c:v>
                </c:pt>
                <c:pt idx="14">
                  <c:v>1408</c:v>
                </c:pt>
                <c:pt idx="15">
                  <c:v>1456</c:v>
                </c:pt>
                <c:pt idx="16">
                  <c:v>1499</c:v>
                </c:pt>
                <c:pt idx="17">
                  <c:v>1588</c:v>
                </c:pt>
                <c:pt idx="18">
                  <c:v>1660</c:v>
                </c:pt>
                <c:pt idx="19">
                  <c:v>1737</c:v>
                </c:pt>
                <c:pt idx="20">
                  <c:v>1802</c:v>
                </c:pt>
                <c:pt idx="21">
                  <c:v>1868</c:v>
                </c:pt>
                <c:pt idx="22">
                  <c:v>1922</c:v>
                </c:pt>
                <c:pt idx="23">
                  <c:v>1952</c:v>
                </c:pt>
                <c:pt idx="24">
                  <c:v>2048</c:v>
                </c:pt>
                <c:pt idx="25">
                  <c:v>2113</c:v>
                </c:pt>
                <c:pt idx="26">
                  <c:v>2171</c:v>
                </c:pt>
                <c:pt idx="27">
                  <c:v>2232</c:v>
                </c:pt>
                <c:pt idx="28">
                  <c:v>2296</c:v>
                </c:pt>
                <c:pt idx="29">
                  <c:v>2337</c:v>
                </c:pt>
                <c:pt idx="30">
                  <c:v>2367</c:v>
                </c:pt>
                <c:pt idx="31">
                  <c:v>2446</c:v>
                </c:pt>
                <c:pt idx="32">
                  <c:v>2501</c:v>
                </c:pt>
                <c:pt idx="33">
                  <c:v>2558</c:v>
                </c:pt>
                <c:pt idx="34">
                  <c:v>2616</c:v>
                </c:pt>
                <c:pt idx="35">
                  <c:v>2669</c:v>
                </c:pt>
                <c:pt idx="36">
                  <c:v>2695</c:v>
                </c:pt>
                <c:pt idx="37">
                  <c:v>2744</c:v>
                </c:pt>
                <c:pt idx="38">
                  <c:v>2807</c:v>
                </c:pt>
                <c:pt idx="39">
                  <c:v>2861</c:v>
                </c:pt>
                <c:pt idx="40">
                  <c:v>2917</c:v>
                </c:pt>
                <c:pt idx="41">
                  <c:v>2968</c:v>
                </c:pt>
                <c:pt idx="42">
                  <c:v>3031</c:v>
                </c:pt>
                <c:pt idx="43">
                  <c:v>3067</c:v>
                </c:pt>
                <c:pt idx="44">
                  <c:v>3108</c:v>
                </c:pt>
                <c:pt idx="45">
                  <c:v>3174</c:v>
                </c:pt>
                <c:pt idx="46">
                  <c:v>3241</c:v>
                </c:pt>
                <c:pt idx="47">
                  <c:v>3337</c:v>
                </c:pt>
                <c:pt idx="48">
                  <c:v>3411</c:v>
                </c:pt>
                <c:pt idx="49">
                  <c:v>3497</c:v>
                </c:pt>
                <c:pt idx="50">
                  <c:v>3550</c:v>
                </c:pt>
                <c:pt idx="51">
                  <c:v>3594</c:v>
                </c:pt>
                <c:pt idx="52">
                  <c:v>3712</c:v>
                </c:pt>
                <c:pt idx="53">
                  <c:v>3809</c:v>
                </c:pt>
                <c:pt idx="54">
                  <c:v>3912</c:v>
                </c:pt>
                <c:pt idx="55">
                  <c:v>4012</c:v>
                </c:pt>
                <c:pt idx="56">
                  <c:v>4117</c:v>
                </c:pt>
                <c:pt idx="57">
                  <c:v>4175</c:v>
                </c:pt>
                <c:pt idx="58">
                  <c:v>4230</c:v>
                </c:pt>
                <c:pt idx="59">
                  <c:v>4381</c:v>
                </c:pt>
                <c:pt idx="60">
                  <c:v>4472</c:v>
                </c:pt>
                <c:pt idx="61">
                  <c:v>4566</c:v>
                </c:pt>
                <c:pt idx="62">
                  <c:v>4682</c:v>
                </c:pt>
                <c:pt idx="63">
                  <c:v>4771</c:v>
                </c:pt>
                <c:pt idx="64">
                  <c:v>4856</c:v>
                </c:pt>
                <c:pt idx="65">
                  <c:v>4928</c:v>
                </c:pt>
                <c:pt idx="66">
                  <c:v>5063</c:v>
                </c:pt>
                <c:pt idx="67">
                  <c:v>5173</c:v>
                </c:pt>
                <c:pt idx="68">
                  <c:v>5288</c:v>
                </c:pt>
                <c:pt idx="69">
                  <c:v>5389</c:v>
                </c:pt>
                <c:pt idx="70">
                  <c:v>5513</c:v>
                </c:pt>
                <c:pt idx="71">
                  <c:v>5588</c:v>
                </c:pt>
                <c:pt idx="72">
                  <c:v>5653</c:v>
                </c:pt>
                <c:pt idx="73">
                  <c:v>5779</c:v>
                </c:pt>
                <c:pt idx="74">
                  <c:v>5896</c:v>
                </c:pt>
                <c:pt idx="75">
                  <c:v>6006</c:v>
                </c:pt>
                <c:pt idx="76">
                  <c:v>6093</c:v>
                </c:pt>
                <c:pt idx="77">
                  <c:v>6176</c:v>
                </c:pt>
                <c:pt idx="78">
                  <c:v>6237</c:v>
                </c:pt>
                <c:pt idx="79">
                  <c:v>6287</c:v>
                </c:pt>
                <c:pt idx="80">
                  <c:v>6423</c:v>
                </c:pt>
                <c:pt idx="81">
                  <c:v>6507</c:v>
                </c:pt>
                <c:pt idx="82">
                  <c:v>6604</c:v>
                </c:pt>
                <c:pt idx="83">
                  <c:v>6690</c:v>
                </c:pt>
                <c:pt idx="84">
                  <c:v>6774</c:v>
                </c:pt>
                <c:pt idx="85">
                  <c:v>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479.1639774624373</c:v>
                </c:pt>
                <c:pt idx="71">
                  <c:v>5571.8673508719821</c:v>
                </c:pt>
                <c:pt idx="72">
                  <c:v>5661.9900727717941</c:v>
                </c:pt>
                <c:pt idx="73">
                  <c:v>5749.5497269614498</c:v>
                </c:pt>
                <c:pt idx="74">
                  <c:v>5833.9848785664926</c:v>
                </c:pt>
                <c:pt idx="75">
                  <c:v>5915.6493712487181</c:v>
                </c:pt>
                <c:pt idx="76">
                  <c:v>5994.8167989593412</c:v>
                </c:pt>
                <c:pt idx="77">
                  <c:v>6071.4678921236327</c:v>
                </c:pt>
                <c:pt idx="78">
                  <c:v>6145.2547195370198</c:v>
                </c:pt>
                <c:pt idx="79">
                  <c:v>6216.1114553848192</c:v>
                </c:pt>
                <c:pt idx="80">
                  <c:v>6284.2471095539941</c:v>
                </c:pt>
                <c:pt idx="81">
                  <c:v>6349.846799033714</c:v>
                </c:pt>
                <c:pt idx="82">
                  <c:v>6413.1099823650211</c:v>
                </c:pt>
                <c:pt idx="83">
                  <c:v>6474.0517092045047</c:v>
                </c:pt>
                <c:pt idx="84">
                  <c:v>6532.6847995451599</c:v>
                </c:pt>
                <c:pt idx="85">
                  <c:v>6589.0415683275714</c:v>
                </c:pt>
                <c:pt idx="86">
                  <c:v>6643.2290886227365</c:v>
                </c:pt>
                <c:pt idx="87">
                  <c:v>6695.3883874720295</c:v>
                </c:pt>
                <c:pt idx="88">
                  <c:v>6745.6241658796343</c:v>
                </c:pt>
                <c:pt idx="89">
                  <c:v>6793.9993255026329</c:v>
                </c:pt>
                <c:pt idx="90">
                  <c:v>6840.5359591440956</c:v>
                </c:pt>
                <c:pt idx="91">
                  <c:v>6885.290188846101</c:v>
                </c:pt>
                <c:pt idx="92">
                  <c:v>6928.3414393514504</c:v>
                </c:pt>
                <c:pt idx="93">
                  <c:v>6969.7751780144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484.8486726320016</c:v>
                </c:pt>
                <c:pt idx="71">
                  <c:v>5585.341071699987</c:v>
                </c:pt>
                <c:pt idx="72">
                  <c:v>5684.8134936929564</c:v>
                </c:pt>
                <c:pt idx="73">
                  <c:v>5783.3773031972096</c:v>
                </c:pt>
                <c:pt idx="74">
                  <c:v>5880.5608546104313</c:v>
                </c:pt>
                <c:pt idx="75">
                  <c:v>5976.443503504026</c:v>
                </c:pt>
                <c:pt idx="76">
                  <c:v>6071.1219496472959</c:v>
                </c:pt>
                <c:pt idx="77">
                  <c:v>6164.5690228608673</c:v>
                </c:pt>
                <c:pt idx="78">
                  <c:v>6256.4651461437898</c:v>
                </c:pt>
                <c:pt idx="79">
                  <c:v>6346.7044261179617</c:v>
                </c:pt>
                <c:pt idx="80">
                  <c:v>6435.3900204463389</c:v>
                </c:pt>
                <c:pt idx="81">
                  <c:v>6522.5768112040623</c:v>
                </c:pt>
                <c:pt idx="82">
                  <c:v>6608.3281183449017</c:v>
                </c:pt>
                <c:pt idx="83">
                  <c:v>6692.613804785803</c:v>
                </c:pt>
                <c:pt idx="84">
                  <c:v>6775.4068728711136</c:v>
                </c:pt>
                <c:pt idx="85">
                  <c:v>6856.6954349461776</c:v>
                </c:pt>
                <c:pt idx="86">
                  <c:v>6936.5155114967802</c:v>
                </c:pt>
                <c:pt idx="87">
                  <c:v>7014.9365639212683</c:v>
                </c:pt>
                <c:pt idx="88">
                  <c:v>7092.0019588947107</c:v>
                </c:pt>
                <c:pt idx="89">
                  <c:v>7167.7234941597399</c:v>
                </c:pt>
                <c:pt idx="90">
                  <c:v>7242.0840934172475</c:v>
                </c:pt>
                <c:pt idx="91">
                  <c:v>7315.0964482391591</c:v>
                </c:pt>
                <c:pt idx="92">
                  <c:v>7386.7974299693487</c:v>
                </c:pt>
                <c:pt idx="93">
                  <c:v>7457.2162566824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496.2180629711338</c:v>
                </c:pt>
                <c:pt idx="71">
                  <c:v>5612.6887081813356</c:v>
                </c:pt>
                <c:pt idx="72">
                  <c:v>5731.9844930838499</c:v>
                </c:pt>
                <c:pt idx="73">
                  <c:v>5854.6516682996062</c:v>
                </c:pt>
                <c:pt idx="74">
                  <c:v>5980.536760825029</c:v>
                </c:pt>
                <c:pt idx="75">
                  <c:v>6109.0552926922292</c:v>
                </c:pt>
                <c:pt idx="76">
                  <c:v>6240.0389659345801</c:v>
                </c:pt>
                <c:pt idx="77">
                  <c:v>6373.7491219167496</c:v>
                </c:pt>
                <c:pt idx="78">
                  <c:v>6510.3158878797913</c:v>
                </c:pt>
                <c:pt idx="79">
                  <c:v>6649.7364550986767</c:v>
                </c:pt>
                <c:pt idx="80">
                  <c:v>6791.9846519464381</c:v>
                </c:pt>
                <c:pt idx="81">
                  <c:v>6936.8750759538616</c:v>
                </c:pt>
                <c:pt idx="82">
                  <c:v>7084.3310080659267</c:v>
                </c:pt>
                <c:pt idx="83">
                  <c:v>7234.4550552830251</c:v>
                </c:pt>
                <c:pt idx="84">
                  <c:v>7387.4003081440078</c:v>
                </c:pt>
                <c:pt idx="85">
                  <c:v>7543.228731375395</c:v>
                </c:pt>
                <c:pt idx="86">
                  <c:v>7701.8887642445925</c:v>
                </c:pt>
                <c:pt idx="87">
                  <c:v>7863.3769518670179</c:v>
                </c:pt>
                <c:pt idx="88">
                  <c:v>8027.7475162393257</c:v>
                </c:pt>
                <c:pt idx="89">
                  <c:v>8195.0886418197915</c:v>
                </c:pt>
                <c:pt idx="90">
                  <c:v>8365.468515816312</c:v>
                </c:pt>
                <c:pt idx="91">
                  <c:v>8538.934604574788</c:v>
                </c:pt>
                <c:pt idx="92">
                  <c:v>8715.5031922462585</c:v>
                </c:pt>
                <c:pt idx="93">
                  <c:v>8895.204451739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499.0579997437153</c:v>
                </c:pt>
                <c:pt idx="71">
                  <c:v>5619.6058244796714</c:v>
                </c:pt>
                <c:pt idx="72">
                  <c:v>5744.0933904047088</c:v>
                </c:pt>
                <c:pt idx="73">
                  <c:v>5873.2173440335982</c:v>
                </c:pt>
                <c:pt idx="74">
                  <c:v>6006.9425269494659</c:v>
                </c:pt>
                <c:pt idx="75">
                  <c:v>6144.5013332775216</c:v>
                </c:pt>
                <c:pt idx="76">
                  <c:v>6285.6896402972634</c:v>
                </c:pt>
                <c:pt idx="77">
                  <c:v>6430.9106019524352</c:v>
                </c:pt>
                <c:pt idx="78">
                  <c:v>6580.524648840923</c:v>
                </c:pt>
                <c:pt idx="79">
                  <c:v>6734.6048115777803</c:v>
                </c:pt>
                <c:pt idx="80">
                  <c:v>6893.1144104089999</c:v>
                </c:pt>
                <c:pt idx="81">
                  <c:v>7055.833669812162</c:v>
                </c:pt>
                <c:pt idx="82">
                  <c:v>7222.706530267471</c:v>
                </c:pt>
                <c:pt idx="83">
                  <c:v>7393.9529572617557</c:v>
                </c:pt>
                <c:pt idx="84">
                  <c:v>7569.8639652717538</c:v>
                </c:pt>
                <c:pt idx="85">
                  <c:v>7750.5747668373733</c:v>
                </c:pt>
                <c:pt idx="86">
                  <c:v>7936.0637596195938</c:v>
                </c:pt>
                <c:pt idx="87">
                  <c:v>8126.3515639353518</c:v>
                </c:pt>
                <c:pt idx="88">
                  <c:v>8321.5701190227919</c:v>
                </c:pt>
                <c:pt idx="89">
                  <c:v>8521.9197716114031</c:v>
                </c:pt>
                <c:pt idx="90">
                  <c:v>8727.5691856768117</c:v>
                </c:pt>
                <c:pt idx="91">
                  <c:v>8938.6515646686239</c:v>
                </c:pt>
                <c:pt idx="92">
                  <c:v>9155.250383159213</c:v>
                </c:pt>
                <c:pt idx="93">
                  <c:v>9377.4618104944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84</c:v>
                </c:pt>
                <c:pt idx="2">
                  <c:v>121</c:v>
                </c:pt>
                <c:pt idx="3">
                  <c:v>192</c:v>
                </c:pt>
                <c:pt idx="4">
                  <c:v>268</c:v>
                </c:pt>
                <c:pt idx="5">
                  <c:v>339</c:v>
                </c:pt>
                <c:pt idx="6">
                  <c:v>396</c:v>
                </c:pt>
                <c:pt idx="7">
                  <c:v>459</c:v>
                </c:pt>
                <c:pt idx="8">
                  <c:v>493</c:v>
                </c:pt>
                <c:pt idx="9">
                  <c:v>527</c:v>
                </c:pt>
                <c:pt idx="10">
                  <c:v>587</c:v>
                </c:pt>
                <c:pt idx="11">
                  <c:v>647</c:v>
                </c:pt>
                <c:pt idx="12">
                  <c:v>693</c:v>
                </c:pt>
                <c:pt idx="13">
                  <c:v>734</c:v>
                </c:pt>
                <c:pt idx="14">
                  <c:v>780</c:v>
                </c:pt>
                <c:pt idx="15">
                  <c:v>802</c:v>
                </c:pt>
                <c:pt idx="16">
                  <c:v>828</c:v>
                </c:pt>
                <c:pt idx="17">
                  <c:v>860</c:v>
                </c:pt>
                <c:pt idx="18">
                  <c:v>889</c:v>
                </c:pt>
                <c:pt idx="19">
                  <c:v>932</c:v>
                </c:pt>
                <c:pt idx="20">
                  <c:v>973</c:v>
                </c:pt>
                <c:pt idx="21">
                  <c:v>1007</c:v>
                </c:pt>
                <c:pt idx="22">
                  <c:v>1029</c:v>
                </c:pt>
                <c:pt idx="23">
                  <c:v>1050</c:v>
                </c:pt>
                <c:pt idx="24">
                  <c:v>1077</c:v>
                </c:pt>
                <c:pt idx="25">
                  <c:v>1106</c:v>
                </c:pt>
                <c:pt idx="26">
                  <c:v>1144</c:v>
                </c:pt>
                <c:pt idx="27">
                  <c:v>1177</c:v>
                </c:pt>
                <c:pt idx="28">
                  <c:v>1201</c:v>
                </c:pt>
                <c:pt idx="29">
                  <c:v>1228</c:v>
                </c:pt>
                <c:pt idx="30">
                  <c:v>1248</c:v>
                </c:pt>
                <c:pt idx="31">
                  <c:v>1277</c:v>
                </c:pt>
                <c:pt idx="32">
                  <c:v>1319</c:v>
                </c:pt>
                <c:pt idx="33">
                  <c:v>1349</c:v>
                </c:pt>
                <c:pt idx="34">
                  <c:v>1372</c:v>
                </c:pt>
                <c:pt idx="35">
                  <c:v>1402</c:v>
                </c:pt>
                <c:pt idx="36">
                  <c:v>1417</c:v>
                </c:pt>
                <c:pt idx="37">
                  <c:v>1436</c:v>
                </c:pt>
                <c:pt idx="38">
                  <c:v>1472</c:v>
                </c:pt>
                <c:pt idx="39">
                  <c:v>1509</c:v>
                </c:pt>
                <c:pt idx="40">
                  <c:v>1535</c:v>
                </c:pt>
                <c:pt idx="41">
                  <c:v>1562</c:v>
                </c:pt>
                <c:pt idx="42">
                  <c:v>1587</c:v>
                </c:pt>
                <c:pt idx="43">
                  <c:v>1606</c:v>
                </c:pt>
                <c:pt idx="44">
                  <c:v>1620</c:v>
                </c:pt>
                <c:pt idx="45">
                  <c:v>1651</c:v>
                </c:pt>
                <c:pt idx="46">
                  <c:v>1678</c:v>
                </c:pt>
                <c:pt idx="47">
                  <c:v>1710</c:v>
                </c:pt>
                <c:pt idx="48">
                  <c:v>1744</c:v>
                </c:pt>
                <c:pt idx="49">
                  <c:v>1792</c:v>
                </c:pt>
                <c:pt idx="50">
                  <c:v>1813</c:v>
                </c:pt>
                <c:pt idx="51">
                  <c:v>1835</c:v>
                </c:pt>
                <c:pt idx="52">
                  <c:v>1889</c:v>
                </c:pt>
                <c:pt idx="53">
                  <c:v>1926</c:v>
                </c:pt>
                <c:pt idx="54">
                  <c:v>1969</c:v>
                </c:pt>
                <c:pt idx="55">
                  <c:v>2006</c:v>
                </c:pt>
                <c:pt idx="56">
                  <c:v>2032</c:v>
                </c:pt>
                <c:pt idx="57">
                  <c:v>2056</c:v>
                </c:pt>
                <c:pt idx="58">
                  <c:v>2084</c:v>
                </c:pt>
                <c:pt idx="59">
                  <c:v>2130</c:v>
                </c:pt>
                <c:pt idx="60">
                  <c:v>2184</c:v>
                </c:pt>
                <c:pt idx="61">
                  <c:v>2230</c:v>
                </c:pt>
                <c:pt idx="62">
                  <c:v>2272</c:v>
                </c:pt>
                <c:pt idx="63">
                  <c:v>2319</c:v>
                </c:pt>
                <c:pt idx="64">
                  <c:v>2349</c:v>
                </c:pt>
                <c:pt idx="65">
                  <c:v>2388</c:v>
                </c:pt>
                <c:pt idx="66">
                  <c:v>2440</c:v>
                </c:pt>
                <c:pt idx="67">
                  <c:v>2499</c:v>
                </c:pt>
                <c:pt idx="68">
                  <c:v>2566</c:v>
                </c:pt>
                <c:pt idx="69">
                  <c:v>2616</c:v>
                </c:pt>
                <c:pt idx="70">
                  <c:v>2662</c:v>
                </c:pt>
                <c:pt idx="71">
                  <c:v>2693</c:v>
                </c:pt>
                <c:pt idx="72">
                  <c:v>2742</c:v>
                </c:pt>
                <c:pt idx="73">
                  <c:v>2799</c:v>
                </c:pt>
                <c:pt idx="74">
                  <c:v>2848</c:v>
                </c:pt>
                <c:pt idx="75">
                  <c:v>2894</c:v>
                </c:pt>
                <c:pt idx="76">
                  <c:v>2947</c:v>
                </c:pt>
                <c:pt idx="77">
                  <c:v>3000</c:v>
                </c:pt>
                <c:pt idx="78">
                  <c:v>3026</c:v>
                </c:pt>
                <c:pt idx="79">
                  <c:v>3064</c:v>
                </c:pt>
                <c:pt idx="80">
                  <c:v>3111</c:v>
                </c:pt>
                <c:pt idx="81">
                  <c:v>3152</c:v>
                </c:pt>
                <c:pt idx="82">
                  <c:v>3182</c:v>
                </c:pt>
                <c:pt idx="83">
                  <c:v>3209</c:v>
                </c:pt>
                <c:pt idx="84">
                  <c:v>3232</c:v>
                </c:pt>
                <c:pt idx="85">
                  <c:v>3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2647.1457964612018</c:v>
                </c:pt>
                <c:pt idx="71">
                  <c:v>2683.3338480514053</c:v>
                </c:pt>
                <c:pt idx="72">
                  <c:v>2718.5212616644949</c:v>
                </c:pt>
                <c:pt idx="73">
                  <c:v>2752.7243396059703</c:v>
                </c:pt>
                <c:pt idx="74">
                  <c:v>2785.7210984537469</c:v>
                </c:pt>
                <c:pt idx="75">
                  <c:v>2817.6400566647453</c:v>
                </c:pt>
                <c:pt idx="76">
                  <c:v>2848.5843768759714</c:v>
                </c:pt>
                <c:pt idx="77">
                  <c:v>2878.5436847002193</c:v>
                </c:pt>
                <c:pt idx="78">
                  <c:v>2907.3815833855274</c:v>
                </c:pt>
                <c:pt idx="79">
                  <c:v>2935.0741321972273</c:v>
                </c:pt>
                <c:pt idx="80">
                  <c:v>2961.7043091743226</c:v>
                </c:pt>
                <c:pt idx="81">
                  <c:v>2987.3426735280609</c:v>
                </c:pt>
                <c:pt idx="82">
                  <c:v>3012.0672638458173</c:v>
                </c:pt>
                <c:pt idx="83">
                  <c:v>3035.8850334549134</c:v>
                </c:pt>
                <c:pt idx="84">
                  <c:v>3058.800968979006</c:v>
                </c:pt>
                <c:pt idx="85">
                  <c:v>3080.8270397720835</c:v>
                </c:pt>
                <c:pt idx="86">
                  <c:v>3102.0050692573077</c:v>
                </c:pt>
                <c:pt idx="87">
                  <c:v>3122.390187104766</c:v>
                </c:pt>
                <c:pt idx="88">
                  <c:v>3142.0232360699715</c:v>
                </c:pt>
                <c:pt idx="89">
                  <c:v>3160.9292205435295</c:v>
                </c:pt>
                <c:pt idx="90">
                  <c:v>3179.1170683559722</c:v>
                </c:pt>
                <c:pt idx="91">
                  <c:v>3196.6082025305659</c:v>
                </c:pt>
                <c:pt idx="92">
                  <c:v>3213.4335042821585</c:v>
                </c:pt>
                <c:pt idx="93">
                  <c:v>3229.6264972668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2649.3479552397857</c:v>
                </c:pt>
                <c:pt idx="71">
                  <c:v>2688.5532735133274</c:v>
                </c:pt>
                <c:pt idx="72">
                  <c:v>2727.3644715050982</c:v>
                </c:pt>
                <c:pt idx="73">
                  <c:v>2765.8357168896614</c:v>
                </c:pt>
                <c:pt idx="74">
                  <c:v>2803.7805055733816</c:v>
                </c:pt>
                <c:pt idx="75">
                  <c:v>2841.2223739501092</c:v>
                </c:pt>
                <c:pt idx="76">
                  <c:v>2878.1965199878678</c:v>
                </c:pt>
                <c:pt idx="77">
                  <c:v>2914.6904509046662</c:v>
                </c:pt>
                <c:pt idx="78">
                  <c:v>2950.5777838291388</c:v>
                </c:pt>
                <c:pt idx="79">
                  <c:v>2985.8183034885906</c:v>
                </c:pt>
                <c:pt idx="80">
                  <c:v>3020.4536585351007</c:v>
                </c:pt>
                <c:pt idx="81">
                  <c:v>3054.5030560988316</c:v>
                </c:pt>
                <c:pt idx="82">
                  <c:v>3087.9915900500232</c:v>
                </c:pt>
                <c:pt idx="83">
                  <c:v>3120.9084209234961</c:v>
                </c:pt>
                <c:pt idx="84">
                  <c:v>3153.2428225026738</c:v>
                </c:pt>
                <c:pt idx="85">
                  <c:v>3184.9893756472038</c:v>
                </c:pt>
                <c:pt idx="86">
                  <c:v>3216.1622041968044</c:v>
                </c:pt>
                <c:pt idx="87">
                  <c:v>3246.7885382174891</c:v>
                </c:pt>
                <c:pt idx="88">
                  <c:v>3276.8852539823902</c:v>
                </c:pt>
                <c:pt idx="89">
                  <c:v>3306.4572704230059</c:v>
                </c:pt>
                <c:pt idx="90">
                  <c:v>3335.4982080120208</c:v>
                </c:pt>
                <c:pt idx="91">
                  <c:v>3364.0124984797894</c:v>
                </c:pt>
                <c:pt idx="92">
                  <c:v>3392.0143708481751</c:v>
                </c:pt>
                <c:pt idx="93">
                  <c:v>3419.5154455311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2653.7522727969549</c:v>
                </c:pt>
                <c:pt idx="71">
                  <c:v>2699.147153426673</c:v>
                </c:pt>
                <c:pt idx="72">
                  <c:v>2745.641319795353</c:v>
                </c:pt>
                <c:pt idx="73">
                  <c:v>2793.4606138822573</c:v>
                </c:pt>
                <c:pt idx="74">
                  <c:v>2842.5434827344143</c:v>
                </c:pt>
                <c:pt idx="75">
                  <c:v>2892.6594309543507</c:v>
                </c:pt>
                <c:pt idx="76">
                  <c:v>2943.7426706902024</c:v>
                </c:pt>
                <c:pt idx="77">
                  <c:v>2995.8948786463793</c:v>
                </c:pt>
                <c:pt idx="78">
                  <c:v>3049.1624849189125</c:v>
                </c:pt>
                <c:pt idx="79">
                  <c:v>3103.544252750225</c:v>
                </c:pt>
                <c:pt idx="80">
                  <c:v>3159.0316441415662</c:v>
                </c:pt>
                <c:pt idx="81">
                  <c:v>3215.5495420882876</c:v>
                </c:pt>
                <c:pt idx="82">
                  <c:v>3273.068859362671</c:v>
                </c:pt>
                <c:pt idx="83">
                  <c:v>3331.6300970411994</c:v>
                </c:pt>
                <c:pt idx="84">
                  <c:v>3391.2922211857285</c:v>
                </c:pt>
                <c:pt idx="85">
                  <c:v>3452.0783964035654</c:v>
                </c:pt>
                <c:pt idx="86">
                  <c:v>3513.9689568059143</c:v>
                </c:pt>
                <c:pt idx="87">
                  <c:v>3576.9629948285519</c:v>
                </c:pt>
                <c:pt idx="88">
                  <c:v>3641.0815982674949</c:v>
                </c:pt>
                <c:pt idx="89">
                  <c:v>3706.359108020828</c:v>
                </c:pt>
                <c:pt idx="90">
                  <c:v>3772.822323467929</c:v>
                </c:pt>
                <c:pt idx="91">
                  <c:v>3840.4892273009445</c:v>
                </c:pt>
                <c:pt idx="92">
                  <c:v>3909.3661311806181</c:v>
                </c:pt>
                <c:pt idx="93">
                  <c:v>3979.4651626562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2654.8524182766719</c:v>
                </c:pt>
                <c:pt idx="71">
                  <c:v>2701.8266943979434</c:v>
                </c:pt>
                <c:pt idx="72">
                  <c:v>2750.333000374691</c:v>
                </c:pt>
                <c:pt idx="73">
                  <c:v>2800.6562688974814</c:v>
                </c:pt>
                <c:pt idx="74">
                  <c:v>2852.7812687322735</c:v>
                </c:pt>
                <c:pt idx="75">
                  <c:v>2906.4074315312819</c:v>
                </c:pt>
                <c:pt idx="76">
                  <c:v>2961.4556231576494</c:v>
                </c:pt>
                <c:pt idx="77">
                  <c:v>3018.0831694876856</c:v>
                </c:pt>
                <c:pt idx="78">
                  <c:v>3076.4254894793594</c:v>
                </c:pt>
                <c:pt idx="79">
                  <c:v>3136.5106140911435</c:v>
                </c:pt>
                <c:pt idx="80">
                  <c:v>3198.326054715762</c:v>
                </c:pt>
                <c:pt idx="81">
                  <c:v>3261.7832231639131</c:v>
                </c:pt>
                <c:pt idx="82">
                  <c:v>3326.8611905418834</c:v>
                </c:pt>
                <c:pt idx="83">
                  <c:v>3393.6460495064007</c:v>
                </c:pt>
                <c:pt idx="84">
                  <c:v>3462.2503371012835</c:v>
                </c:pt>
                <c:pt idx="85">
                  <c:v>3532.725757438574</c:v>
                </c:pt>
                <c:pt idx="86">
                  <c:v>3605.064459719023</c:v>
                </c:pt>
                <c:pt idx="87">
                  <c:v>3679.2750623566644</c:v>
                </c:pt>
                <c:pt idx="88">
                  <c:v>3755.4089387071172</c:v>
                </c:pt>
                <c:pt idx="89">
                  <c:v>3833.5440169701951</c:v>
                </c:pt>
                <c:pt idx="90">
                  <c:v>3913.7462464933615</c:v>
                </c:pt>
                <c:pt idx="91">
                  <c:v>3996.0670456785374</c:v>
                </c:pt>
                <c:pt idx="92">
                  <c:v>4080.5389698076324</c:v>
                </c:pt>
                <c:pt idx="93">
                  <c:v>4167.1999525035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3</c:v>
                </c:pt>
                <c:pt idx="1">
                  <c:v>90</c:v>
                </c:pt>
                <c:pt idx="2">
                  <c:v>142</c:v>
                </c:pt>
                <c:pt idx="3">
                  <c:v>186</c:v>
                </c:pt>
                <c:pt idx="4">
                  <c:v>242</c:v>
                </c:pt>
                <c:pt idx="5">
                  <c:v>290</c:v>
                </c:pt>
                <c:pt idx="6">
                  <c:v>341</c:v>
                </c:pt>
                <c:pt idx="7">
                  <c:v>406</c:v>
                </c:pt>
                <c:pt idx="8">
                  <c:v>445</c:v>
                </c:pt>
                <c:pt idx="9">
                  <c:v>477</c:v>
                </c:pt>
                <c:pt idx="10">
                  <c:v>524</c:v>
                </c:pt>
                <c:pt idx="11">
                  <c:v>558</c:v>
                </c:pt>
                <c:pt idx="12">
                  <c:v>591</c:v>
                </c:pt>
                <c:pt idx="13">
                  <c:v>638</c:v>
                </c:pt>
                <c:pt idx="14">
                  <c:v>684</c:v>
                </c:pt>
                <c:pt idx="15">
                  <c:v>711</c:v>
                </c:pt>
                <c:pt idx="16">
                  <c:v>732</c:v>
                </c:pt>
                <c:pt idx="17">
                  <c:v>761</c:v>
                </c:pt>
                <c:pt idx="18">
                  <c:v>792</c:v>
                </c:pt>
                <c:pt idx="19">
                  <c:v>824</c:v>
                </c:pt>
                <c:pt idx="20">
                  <c:v>850</c:v>
                </c:pt>
                <c:pt idx="21">
                  <c:v>869</c:v>
                </c:pt>
                <c:pt idx="22">
                  <c:v>886</c:v>
                </c:pt>
                <c:pt idx="23">
                  <c:v>906</c:v>
                </c:pt>
                <c:pt idx="24">
                  <c:v>927</c:v>
                </c:pt>
                <c:pt idx="25">
                  <c:v>957</c:v>
                </c:pt>
                <c:pt idx="26">
                  <c:v>975</c:v>
                </c:pt>
                <c:pt idx="27">
                  <c:v>998</c:v>
                </c:pt>
                <c:pt idx="28">
                  <c:v>1015</c:v>
                </c:pt>
                <c:pt idx="29">
                  <c:v>1033</c:v>
                </c:pt>
                <c:pt idx="30">
                  <c:v>1042</c:v>
                </c:pt>
                <c:pt idx="31">
                  <c:v>1069</c:v>
                </c:pt>
                <c:pt idx="32">
                  <c:v>1095</c:v>
                </c:pt>
                <c:pt idx="33">
                  <c:v>1119</c:v>
                </c:pt>
                <c:pt idx="34">
                  <c:v>1132</c:v>
                </c:pt>
                <c:pt idx="35">
                  <c:v>1146</c:v>
                </c:pt>
                <c:pt idx="36">
                  <c:v>1159</c:v>
                </c:pt>
                <c:pt idx="37">
                  <c:v>1179</c:v>
                </c:pt>
                <c:pt idx="38">
                  <c:v>1193</c:v>
                </c:pt>
                <c:pt idx="39">
                  <c:v>1211</c:v>
                </c:pt>
                <c:pt idx="40">
                  <c:v>1245</c:v>
                </c:pt>
                <c:pt idx="41">
                  <c:v>1267</c:v>
                </c:pt>
                <c:pt idx="42">
                  <c:v>1279</c:v>
                </c:pt>
                <c:pt idx="43">
                  <c:v>1293</c:v>
                </c:pt>
                <c:pt idx="44">
                  <c:v>1312</c:v>
                </c:pt>
                <c:pt idx="45">
                  <c:v>1332</c:v>
                </c:pt>
                <c:pt idx="46">
                  <c:v>1354</c:v>
                </c:pt>
                <c:pt idx="47">
                  <c:v>1383</c:v>
                </c:pt>
                <c:pt idx="48">
                  <c:v>1405</c:v>
                </c:pt>
                <c:pt idx="49">
                  <c:v>1421</c:v>
                </c:pt>
                <c:pt idx="50">
                  <c:v>1442</c:v>
                </c:pt>
                <c:pt idx="51">
                  <c:v>1455</c:v>
                </c:pt>
                <c:pt idx="52">
                  <c:v>1479</c:v>
                </c:pt>
                <c:pt idx="53">
                  <c:v>1507</c:v>
                </c:pt>
                <c:pt idx="54">
                  <c:v>1539</c:v>
                </c:pt>
                <c:pt idx="55">
                  <c:v>1572</c:v>
                </c:pt>
                <c:pt idx="56">
                  <c:v>1591</c:v>
                </c:pt>
                <c:pt idx="57">
                  <c:v>1623</c:v>
                </c:pt>
                <c:pt idx="58">
                  <c:v>1647</c:v>
                </c:pt>
                <c:pt idx="59">
                  <c:v>1678</c:v>
                </c:pt>
                <c:pt idx="60">
                  <c:v>1709</c:v>
                </c:pt>
                <c:pt idx="61">
                  <c:v>1747</c:v>
                </c:pt>
                <c:pt idx="62">
                  <c:v>1787</c:v>
                </c:pt>
                <c:pt idx="63">
                  <c:v>1815</c:v>
                </c:pt>
                <c:pt idx="64">
                  <c:v>1835</c:v>
                </c:pt>
                <c:pt idx="65">
                  <c:v>1850</c:v>
                </c:pt>
                <c:pt idx="66">
                  <c:v>1873</c:v>
                </c:pt>
                <c:pt idx="67">
                  <c:v>1903</c:v>
                </c:pt>
                <c:pt idx="68">
                  <c:v>1930</c:v>
                </c:pt>
                <c:pt idx="69">
                  <c:v>1958</c:v>
                </c:pt>
                <c:pt idx="70">
                  <c:v>1990</c:v>
                </c:pt>
                <c:pt idx="71">
                  <c:v>2019</c:v>
                </c:pt>
                <c:pt idx="72">
                  <c:v>2050</c:v>
                </c:pt>
                <c:pt idx="73">
                  <c:v>2090</c:v>
                </c:pt>
                <c:pt idx="74">
                  <c:v>2121</c:v>
                </c:pt>
                <c:pt idx="75">
                  <c:v>2156</c:v>
                </c:pt>
                <c:pt idx="76">
                  <c:v>2197</c:v>
                </c:pt>
                <c:pt idx="77">
                  <c:v>2236</c:v>
                </c:pt>
                <c:pt idx="78">
                  <c:v>2251</c:v>
                </c:pt>
                <c:pt idx="79">
                  <c:v>2270</c:v>
                </c:pt>
                <c:pt idx="80">
                  <c:v>2312</c:v>
                </c:pt>
                <c:pt idx="81">
                  <c:v>2345</c:v>
                </c:pt>
                <c:pt idx="82">
                  <c:v>2386</c:v>
                </c:pt>
                <c:pt idx="83">
                  <c:v>2419</c:v>
                </c:pt>
                <c:pt idx="84">
                  <c:v>2451</c:v>
                </c:pt>
                <c:pt idx="85">
                  <c:v>2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1987.8920342105346</c:v>
                </c:pt>
                <c:pt idx="71">
                  <c:v>2017.0126147324797</c:v>
                </c:pt>
                <c:pt idx="72">
                  <c:v>2045.3261499706709</c:v>
                </c:pt>
                <c:pt idx="73">
                  <c:v>2072.8432010751358</c:v>
                </c:pt>
                <c:pt idx="74">
                  <c:v>2099.3859016077204</c:v>
                </c:pt>
                <c:pt idx="75">
                  <c:v>2125.0602742721685</c:v>
                </c:pt>
                <c:pt idx="76">
                  <c:v>2149.9503200910322</c:v>
                </c:pt>
                <c:pt idx="77">
                  <c:v>2174.0484636097103</c:v>
                </c:pt>
                <c:pt idx="78">
                  <c:v>2197.2451024851171</c:v>
                </c:pt>
                <c:pt idx="79">
                  <c:v>2219.5204959662528</c:v>
                </c:pt>
                <c:pt idx="80">
                  <c:v>2240.9410404887603</c:v>
                </c:pt>
                <c:pt idx="81">
                  <c:v>2261.5639768070268</c:v>
                </c:pt>
                <c:pt idx="82">
                  <c:v>2281.4520546863669</c:v>
                </c:pt>
                <c:pt idx="83">
                  <c:v>2300.6105772584724</c:v>
                </c:pt>
                <c:pt idx="84">
                  <c:v>2319.0435621006059</c:v>
                </c:pt>
                <c:pt idx="85">
                  <c:v>2336.7608157996742</c:v>
                </c:pt>
                <c:pt idx="86">
                  <c:v>2353.7959866942711</c:v>
                </c:pt>
                <c:pt idx="87">
                  <c:v>2370.1934166333313</c:v>
                </c:pt>
                <c:pt idx="88">
                  <c:v>2385.9859796315195</c:v>
                </c:pt>
                <c:pt idx="89">
                  <c:v>2401.1936748698686</c:v>
                </c:pt>
                <c:pt idx="90">
                  <c:v>2415.8236043258294</c:v>
                </c:pt>
                <c:pt idx="91">
                  <c:v>2429.8931385516098</c:v>
                </c:pt>
                <c:pt idx="92">
                  <c:v>2443.4271611273525</c:v>
                </c:pt>
                <c:pt idx="93">
                  <c:v>2456.4526051602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1989.668705030271</c:v>
                </c:pt>
                <c:pt idx="71">
                  <c:v>2021.2235946464732</c:v>
                </c:pt>
                <c:pt idx="72">
                  <c:v>2052.4602398765564</c:v>
                </c:pt>
                <c:pt idx="73">
                  <c:v>2083.4193316717956</c:v>
                </c:pt>
                <c:pt idx="74">
                  <c:v>2113.9514376682059</c:v>
                </c:pt>
                <c:pt idx="75">
                  <c:v>2144.0775138615204</c:v>
                </c:pt>
                <c:pt idx="76">
                  <c:v>2173.8265750832184</c:v>
                </c:pt>
                <c:pt idx="77">
                  <c:v>2203.1890795369368</c:v>
                </c:pt>
                <c:pt idx="78">
                  <c:v>2232.0637688082925</c:v>
                </c:pt>
                <c:pt idx="79">
                  <c:v>2260.4179776800584</c:v>
                </c:pt>
                <c:pt idx="80">
                  <c:v>2288.2848470696722</c:v>
                </c:pt>
                <c:pt idx="81">
                  <c:v>2315.6804336525747</c:v>
                </c:pt>
                <c:pt idx="82">
                  <c:v>2342.6248286129721</c:v>
                </c:pt>
                <c:pt idx="83">
                  <c:v>2369.1090587922963</c:v>
                </c:pt>
                <c:pt idx="84">
                  <c:v>2395.1245435392834</c:v>
                </c:pt>
                <c:pt idx="85">
                  <c:v>2420.6671330372997</c:v>
                </c:pt>
                <c:pt idx="86">
                  <c:v>2445.7481757615092</c:v>
                </c:pt>
                <c:pt idx="87">
                  <c:v>2470.3895526704341</c:v>
                </c:pt>
                <c:pt idx="88">
                  <c:v>2494.6048583552811</c:v>
                </c:pt>
                <c:pt idx="89">
                  <c:v>2518.3979661381491</c:v>
                </c:pt>
                <c:pt idx="90">
                  <c:v>2541.7636647901254</c:v>
                </c:pt>
                <c:pt idx="91">
                  <c:v>2564.7056621331858</c:v>
                </c:pt>
                <c:pt idx="92">
                  <c:v>2587.2354527794005</c:v>
                </c:pt>
                <c:pt idx="93">
                  <c:v>2609.3623295108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1993.2220466697447</c:v>
                </c:pt>
                <c:pt idx="71">
                  <c:v>2029.7706296890813</c:v>
                </c:pt>
                <c:pt idx="72">
                  <c:v>2067.2047706635913</c:v>
                </c:pt>
                <c:pt idx="73">
                  <c:v>2105.7027894622161</c:v>
                </c:pt>
                <c:pt idx="74">
                  <c:v>2145.2155994095174</c:v>
                </c:pt>
                <c:pt idx="75">
                  <c:v>2185.5583535374194</c:v>
                </c:pt>
                <c:pt idx="76">
                  <c:v>2226.6781367549347</c:v>
                </c:pt>
                <c:pt idx="77">
                  <c:v>2268.6568610021586</c:v>
                </c:pt>
                <c:pt idx="78">
                  <c:v>2311.533071880006</c:v>
                </c:pt>
                <c:pt idx="79">
                  <c:v>2355.3058121916929</c:v>
                </c:pt>
                <c:pt idx="80">
                  <c:v>2399.9677566083669</c:v>
                </c:pt>
                <c:pt idx="81">
                  <c:v>2445.4592014765235</c:v>
                </c:pt>
                <c:pt idx="82">
                  <c:v>2491.7565069334069</c:v>
                </c:pt>
                <c:pt idx="83">
                  <c:v>2538.8921431383942</c:v>
                </c:pt>
                <c:pt idx="84">
                  <c:v>2586.913775570617</c:v>
                </c:pt>
                <c:pt idx="85">
                  <c:v>2635.8403223339578</c:v>
                </c:pt>
                <c:pt idx="86">
                  <c:v>2685.6558331951637</c:v>
                </c:pt>
                <c:pt idx="87">
                  <c:v>2736.3594583179147</c:v>
                </c:pt>
                <c:pt idx="88">
                  <c:v>2787.968188357971</c:v>
                </c:pt>
                <c:pt idx="89">
                  <c:v>2840.5096800137158</c:v>
                </c:pt>
                <c:pt idx="90">
                  <c:v>2894.0054495936615</c:v>
                </c:pt>
                <c:pt idx="91">
                  <c:v>2948.4701158631478</c:v>
                </c:pt>
                <c:pt idx="92">
                  <c:v>3003.9087700410482</c:v>
                </c:pt>
                <c:pt idx="93">
                  <c:v>3060.3310765848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1994.1096286144646</c:v>
                </c:pt>
                <c:pt idx="71">
                  <c:v>2031.9324560823397</c:v>
                </c:pt>
                <c:pt idx="72">
                  <c:v>2070.9897097530743</c:v>
                </c:pt>
                <c:pt idx="73">
                  <c:v>2111.5071564897612</c:v>
                </c:pt>
                <c:pt idx="74">
                  <c:v>2153.4729479322132</c:v>
                </c:pt>
                <c:pt idx="75">
                  <c:v>2196.6454662855649</c:v>
                </c:pt>
                <c:pt idx="76">
                  <c:v>2240.9608837031287</c:v>
                </c:pt>
                <c:pt idx="77">
                  <c:v>2286.5458143432388</c:v>
                </c:pt>
                <c:pt idx="78">
                  <c:v>2333.5106607325579</c:v>
                </c:pt>
                <c:pt idx="79">
                  <c:v>2381.8781088233686</c:v>
                </c:pt>
                <c:pt idx="80">
                  <c:v>2431.6376132074533</c:v>
                </c:pt>
                <c:pt idx="81">
                  <c:v>2482.7186443591945</c:v>
                </c:pt>
                <c:pt idx="82">
                  <c:v>2535.1041020790681</c:v>
                </c:pt>
                <c:pt idx="83">
                  <c:v>2588.8632040052062</c:v>
                </c:pt>
                <c:pt idx="84">
                  <c:v>2644.086797302989</c:v>
                </c:pt>
                <c:pt idx="85">
                  <c:v>2700.816780436412</c:v>
                </c:pt>
                <c:pt idx="86">
                  <c:v>2759.0466781660725</c:v>
                </c:pt>
                <c:pt idx="87">
                  <c:v>2818.78327157286</c:v>
                </c:pt>
                <c:pt idx="88">
                  <c:v>2880.0679363594973</c:v>
                </c:pt>
                <c:pt idx="89">
                  <c:v>2942.9634573172393</c:v>
                </c:pt>
                <c:pt idx="90">
                  <c:v>3007.5228744479346</c:v>
                </c:pt>
                <c:pt idx="91">
                  <c:v>3073.7877212148765</c:v>
                </c:pt>
                <c:pt idx="92">
                  <c:v>3141.7842030803777</c:v>
                </c:pt>
                <c:pt idx="93">
                  <c:v>3211.5427389169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93</c:v>
                </c:pt>
                <c:pt idx="2">
                  <c:v>524</c:v>
                </c:pt>
                <c:pt idx="3">
                  <c:v>571</c:v>
                </c:pt>
                <c:pt idx="4">
                  <c:v>579</c:v>
                </c:pt>
                <c:pt idx="5">
                  <c:v>587</c:v>
                </c:pt>
                <c:pt idx="6">
                  <c:v>613</c:v>
                </c:pt>
                <c:pt idx="7">
                  <c:v>590</c:v>
                </c:pt>
                <c:pt idx="8">
                  <c:v>554</c:v>
                </c:pt>
                <c:pt idx="9">
                  <c:v>545</c:v>
                </c:pt>
                <c:pt idx="10">
                  <c:v>590</c:v>
                </c:pt>
                <c:pt idx="11">
                  <c:v>600</c:v>
                </c:pt>
                <c:pt idx="12">
                  <c:v>593</c:v>
                </c:pt>
                <c:pt idx="13">
                  <c:v>572</c:v>
                </c:pt>
                <c:pt idx="14">
                  <c:v>581</c:v>
                </c:pt>
                <c:pt idx="15">
                  <c:v>486</c:v>
                </c:pt>
                <c:pt idx="16">
                  <c:v>490</c:v>
                </c:pt>
                <c:pt idx="17">
                  <c:v>518</c:v>
                </c:pt>
                <c:pt idx="18">
                  <c:v>520</c:v>
                </c:pt>
                <c:pt idx="19">
                  <c:v>490</c:v>
                </c:pt>
                <c:pt idx="20">
                  <c:v>477</c:v>
                </c:pt>
                <c:pt idx="21">
                  <c:v>481</c:v>
                </c:pt>
                <c:pt idx="22">
                  <c:v>432</c:v>
                </c:pt>
                <c:pt idx="23">
                  <c:v>448</c:v>
                </c:pt>
                <c:pt idx="24">
                  <c:v>482</c:v>
                </c:pt>
                <c:pt idx="25">
                  <c:v>474</c:v>
                </c:pt>
                <c:pt idx="26">
                  <c:v>485</c:v>
                </c:pt>
                <c:pt idx="27">
                  <c:v>494</c:v>
                </c:pt>
                <c:pt idx="28">
                  <c:v>507</c:v>
                </c:pt>
                <c:pt idx="29">
                  <c:v>468</c:v>
                </c:pt>
                <c:pt idx="30">
                  <c:v>466</c:v>
                </c:pt>
                <c:pt idx="31">
                  <c:v>523</c:v>
                </c:pt>
                <c:pt idx="32">
                  <c:v>499</c:v>
                </c:pt>
                <c:pt idx="33">
                  <c:v>505</c:v>
                </c:pt>
                <c:pt idx="34">
                  <c:v>523</c:v>
                </c:pt>
                <c:pt idx="35">
                  <c:v>541</c:v>
                </c:pt>
                <c:pt idx="36">
                  <c:v>489</c:v>
                </c:pt>
                <c:pt idx="37">
                  <c:v>515</c:v>
                </c:pt>
                <c:pt idx="38">
                  <c:v>553</c:v>
                </c:pt>
                <c:pt idx="39">
                  <c:v>549</c:v>
                </c:pt>
                <c:pt idx="40">
                  <c:v>544</c:v>
                </c:pt>
                <c:pt idx="41">
                  <c:v>546</c:v>
                </c:pt>
                <c:pt idx="42">
                  <c:v>551</c:v>
                </c:pt>
                <c:pt idx="43">
                  <c:v>525</c:v>
                </c:pt>
                <c:pt idx="44">
                  <c:v>540</c:v>
                </c:pt>
                <c:pt idx="45">
                  <c:v>610</c:v>
                </c:pt>
                <c:pt idx="46">
                  <c:v>611</c:v>
                </c:pt>
                <c:pt idx="47">
                  <c:v>629</c:v>
                </c:pt>
                <c:pt idx="48">
                  <c:v>653</c:v>
                </c:pt>
                <c:pt idx="49">
                  <c:v>654</c:v>
                </c:pt>
                <c:pt idx="50">
                  <c:v>593</c:v>
                </c:pt>
                <c:pt idx="51">
                  <c:v>614</c:v>
                </c:pt>
                <c:pt idx="52">
                  <c:v>701</c:v>
                </c:pt>
                <c:pt idx="53">
                  <c:v>673</c:v>
                </c:pt>
                <c:pt idx="54">
                  <c:v>682</c:v>
                </c:pt>
                <c:pt idx="55">
                  <c:v>700</c:v>
                </c:pt>
                <c:pt idx="56">
                  <c:v>718</c:v>
                </c:pt>
                <c:pt idx="57">
                  <c:v>683</c:v>
                </c:pt>
                <c:pt idx="58">
                  <c:v>729</c:v>
                </c:pt>
                <c:pt idx="59">
                  <c:v>806</c:v>
                </c:pt>
                <c:pt idx="60">
                  <c:v>793</c:v>
                </c:pt>
                <c:pt idx="61">
                  <c:v>797</c:v>
                </c:pt>
                <c:pt idx="62">
                  <c:v>817</c:v>
                </c:pt>
                <c:pt idx="63">
                  <c:v>825</c:v>
                </c:pt>
                <c:pt idx="64">
                  <c:v>817</c:v>
                </c:pt>
                <c:pt idx="65">
                  <c:v>841</c:v>
                </c:pt>
                <c:pt idx="66">
                  <c:v>930</c:v>
                </c:pt>
                <c:pt idx="67">
                  <c:v>922</c:v>
                </c:pt>
                <c:pt idx="68">
                  <c:v>917</c:v>
                </c:pt>
                <c:pt idx="69">
                  <c:v>934</c:v>
                </c:pt>
                <c:pt idx="70">
                  <c:v>932</c:v>
                </c:pt>
                <c:pt idx="71">
                  <c:v>893</c:v>
                </c:pt>
                <c:pt idx="72">
                  <c:v>909</c:v>
                </c:pt>
                <c:pt idx="73">
                  <c:v>989</c:v>
                </c:pt>
                <c:pt idx="74">
                  <c:v>953</c:v>
                </c:pt>
                <c:pt idx="75">
                  <c:v>934</c:v>
                </c:pt>
                <c:pt idx="76">
                  <c:v>927</c:v>
                </c:pt>
                <c:pt idx="77">
                  <c:v>894</c:v>
                </c:pt>
                <c:pt idx="78">
                  <c:v>812</c:v>
                </c:pt>
                <c:pt idx="79">
                  <c:v>838</c:v>
                </c:pt>
                <c:pt idx="80">
                  <c:v>891</c:v>
                </c:pt>
                <c:pt idx="81">
                  <c:v>862</c:v>
                </c:pt>
                <c:pt idx="82">
                  <c:v>821</c:v>
                </c:pt>
                <c:pt idx="83">
                  <c:v>783</c:v>
                </c:pt>
                <c:pt idx="84">
                  <c:v>765</c:v>
                </c:pt>
                <c:pt idx="85">
                  <c:v>708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888.22441520013558</c:v>
                </c:pt>
                <c:pt idx="71">
                  <c:v>878.35928934930325</c:v>
                </c:pt>
                <c:pt idx="72">
                  <c:v>867.18384711396789</c:v>
                </c:pt>
                <c:pt idx="73">
                  <c:v>854.44528324720056</c:v>
                </c:pt>
                <c:pt idx="74">
                  <c:v>839.70538480532343</c:v>
                </c:pt>
                <c:pt idx="75">
                  <c:v>823.79222351157239</c:v>
                </c:pt>
                <c:pt idx="76">
                  <c:v>806.93644852358011</c:v>
                </c:pt>
                <c:pt idx="77">
                  <c:v>788.93464691026634</c:v>
                </c:pt>
                <c:pt idx="78">
                  <c:v>769.85796353261173</c:v>
                </c:pt>
                <c:pt idx="79">
                  <c:v>749.95869940686691</c:v>
                </c:pt>
                <c:pt idx="80">
                  <c:v>729.45491410755017</c:v>
                </c:pt>
                <c:pt idx="81">
                  <c:v>708.46850939423666</c:v>
                </c:pt>
                <c:pt idx="82">
                  <c:v>687.36854738642967</c:v>
                </c:pt>
                <c:pt idx="83">
                  <c:v>666.2742866091952</c:v>
                </c:pt>
                <c:pt idx="84">
                  <c:v>645.34036299897639</c:v>
                </c:pt>
                <c:pt idx="85">
                  <c:v>624.61466537456545</c:v>
                </c:pt>
                <c:pt idx="86">
                  <c:v>604.09691631798091</c:v>
                </c:pt>
                <c:pt idx="87">
                  <c:v>583.64591102159955</c:v>
                </c:pt>
                <c:pt idx="88">
                  <c:v>563.35175089543282</c:v>
                </c:pt>
                <c:pt idx="89">
                  <c:v>543.43383081403806</c:v>
                </c:pt>
                <c:pt idx="90">
                  <c:v>523.96692176305021</c:v>
                </c:pt>
                <c:pt idx="91">
                  <c:v>505.02452818055338</c:v>
                </c:pt>
                <c:pt idx="92">
                  <c:v>486.58284195476756</c:v>
                </c:pt>
                <c:pt idx="93">
                  <c:v>468.67706937714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892.75338924467246</c:v>
                </c:pt>
                <c:pt idx="71">
                  <c:v>888.94844828179089</c:v>
                </c:pt>
                <c:pt idx="72">
                  <c:v>884.81994101941859</c:v>
                </c:pt>
                <c:pt idx="73">
                  <c:v>880.09795561943179</c:v>
                </c:pt>
                <c:pt idx="74">
                  <c:v>874.33210091045385</c:v>
                </c:pt>
                <c:pt idx="75">
                  <c:v>868.05948976053571</c:v>
                </c:pt>
                <c:pt idx="76">
                  <c:v>861.29742475315402</c:v>
                </c:pt>
                <c:pt idx="77">
                  <c:v>853.75885289095936</c:v>
                </c:pt>
                <c:pt idx="78">
                  <c:v>845.46654057532442</c:v>
                </c:pt>
                <c:pt idx="79">
                  <c:v>836.59230000553134</c:v>
                </c:pt>
                <c:pt idx="80">
                  <c:v>827.19104330206505</c:v>
                </c:pt>
                <c:pt idx="81">
                  <c:v>817.17196404817184</c:v>
                </c:pt>
                <c:pt idx="82">
                  <c:v>806.77794460289874</c:v>
                </c:pt>
                <c:pt idx="83">
                  <c:v>796.10878112064347</c:v>
                </c:pt>
                <c:pt idx="84">
                  <c:v>785.29215529079283</c:v>
                </c:pt>
                <c:pt idx="85">
                  <c:v>774.33609487992442</c:v>
                </c:pt>
                <c:pt idx="86">
                  <c:v>763.20743208912427</c:v>
                </c:pt>
                <c:pt idx="87">
                  <c:v>751.74359833750293</c:v>
                </c:pt>
                <c:pt idx="88">
                  <c:v>740.02469067765094</c:v>
                </c:pt>
                <c:pt idx="89">
                  <c:v>728.25645786492009</c:v>
                </c:pt>
                <c:pt idx="90">
                  <c:v>716.49921578099838</c:v>
                </c:pt>
                <c:pt idx="91">
                  <c:v>704.80636727468368</c:v>
                </c:pt>
                <c:pt idx="92">
                  <c:v>693.14993271427454</c:v>
                </c:pt>
                <c:pt idx="93">
                  <c:v>681.57194506961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901.81133733374622</c:v>
                </c:pt>
                <c:pt idx="71">
                  <c:v>910.44559977331107</c:v>
                </c:pt>
                <c:pt idx="72">
                  <c:v>921.29619010500255</c:v>
                </c:pt>
                <c:pt idx="73">
                  <c:v>934.23347508561164</c:v>
                </c:pt>
                <c:pt idx="74">
                  <c:v>948.85882046293921</c:v>
                </c:pt>
                <c:pt idx="75">
                  <c:v>964.99281565286822</c:v>
                </c:pt>
                <c:pt idx="76">
                  <c:v>982.25329064903372</c:v>
                </c:pt>
                <c:pt idx="77">
                  <c:v>1000.3821416910889</c:v>
                </c:pt>
                <c:pt idx="78">
                  <c:v>1019.5626383258184</c:v>
                </c:pt>
                <c:pt idx="79">
                  <c:v>1039.8809650022147</c:v>
                </c:pt>
                <c:pt idx="80">
                  <c:v>1061.0501376012335</c:v>
                </c:pt>
                <c:pt idx="81">
                  <c:v>1082.4808272653904</c:v>
                </c:pt>
                <c:pt idx="82">
                  <c:v>1104.1728798529937</c:v>
                </c:pt>
                <c:pt idx="83">
                  <c:v>1126.2649781247321</c:v>
                </c:pt>
                <c:pt idx="84">
                  <c:v>1148.9337982351565</c:v>
                </c:pt>
                <c:pt idx="85">
                  <c:v>1172.1290690098324</c:v>
                </c:pt>
                <c:pt idx="86">
                  <c:v>1195.6858366277643</c:v>
                </c:pt>
                <c:pt idx="87">
                  <c:v>1219.3435253837833</c:v>
                </c:pt>
                <c:pt idx="88">
                  <c:v>1243.1546350435362</c:v>
                </c:pt>
                <c:pt idx="89">
                  <c:v>1267.3254485642883</c:v>
                </c:pt>
                <c:pt idx="90">
                  <c:v>1291.9053311698863</c:v>
                </c:pt>
                <c:pt idx="91">
                  <c:v>1316.8923288262895</c:v>
                </c:pt>
                <c:pt idx="92">
                  <c:v>1342.1877325268376</c:v>
                </c:pt>
                <c:pt idx="93">
                  <c:v>1367.8225266554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904.0739036715172</c:v>
                </c:pt>
                <c:pt idx="71">
                  <c:v>915.88385000646781</c:v>
                </c:pt>
                <c:pt idx="72">
                  <c:v>930.66516173961736</c:v>
                </c:pt>
                <c:pt idx="73">
                  <c:v>948.35171042697391</c:v>
                </c:pt>
                <c:pt idx="74">
                  <c:v>968.58170184782307</c:v>
                </c:pt>
                <c:pt idx="75">
                  <c:v>990.97392564510517</c:v>
                </c:pt>
                <c:pt idx="76">
                  <c:v>1015.061287679245</c:v>
                </c:pt>
                <c:pt idx="77">
                  <c:v>1040.6381829312913</c:v>
                </c:pt>
                <c:pt idx="78">
                  <c:v>1068.0093023233289</c:v>
                </c:pt>
                <c:pt idx="79">
                  <c:v>1097.2625512591146</c:v>
                </c:pt>
                <c:pt idx="80">
                  <c:v>1128.023193810481</c:v>
                </c:pt>
                <c:pt idx="81">
                  <c:v>1159.5759631994229</c:v>
                </c:pt>
                <c:pt idx="82">
                  <c:v>1191.8802163199205</c:v>
                </c:pt>
                <c:pt idx="83">
                  <c:v>1225.1255748734113</c:v>
                </c:pt>
                <c:pt idx="84">
                  <c:v>1259.5469509277675</c:v>
                </c:pt>
                <c:pt idx="85">
                  <c:v>1295.0924909997107</c:v>
                </c:pt>
                <c:pt idx="86">
                  <c:v>1331.5732620761032</c:v>
                </c:pt>
                <c:pt idx="87">
                  <c:v>1368.7037039166958</c:v>
                </c:pt>
                <c:pt idx="88">
                  <c:v>1406.5530936892949</c:v>
                </c:pt>
                <c:pt idx="89">
                  <c:v>1445.3638257260959</c:v>
                </c:pt>
                <c:pt idx="90">
                  <c:v>1485.2059977367026</c:v>
                </c:pt>
                <c:pt idx="91">
                  <c:v>1526.0840254189102</c:v>
                </c:pt>
                <c:pt idx="92">
                  <c:v>1567.8956059578222</c:v>
                </c:pt>
                <c:pt idx="93">
                  <c:v>1610.67526328570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8</c:v>
                </c:pt>
                <c:pt idx="1">
                  <c:v>628</c:v>
                </c:pt>
                <c:pt idx="2">
                  <c:v>628</c:v>
                </c:pt>
                <c:pt idx="3">
                  <c:v>628</c:v>
                </c:pt>
                <c:pt idx="4">
                  <c:v>628</c:v>
                </c:pt>
                <c:pt idx="5">
                  <c:v>628</c:v>
                </c:pt>
                <c:pt idx="6">
                  <c:v>628</c:v>
                </c:pt>
                <c:pt idx="7">
                  <c:v>628</c:v>
                </c:pt>
                <c:pt idx="8">
                  <c:v>628</c:v>
                </c:pt>
                <c:pt idx="9">
                  <c:v>628</c:v>
                </c:pt>
                <c:pt idx="10">
                  <c:v>628</c:v>
                </c:pt>
                <c:pt idx="11">
                  <c:v>628</c:v>
                </c:pt>
                <c:pt idx="12">
                  <c:v>628</c:v>
                </c:pt>
                <c:pt idx="13">
                  <c:v>628</c:v>
                </c:pt>
                <c:pt idx="14">
                  <c:v>628</c:v>
                </c:pt>
                <c:pt idx="15">
                  <c:v>628</c:v>
                </c:pt>
                <c:pt idx="16">
                  <c:v>628</c:v>
                </c:pt>
                <c:pt idx="17">
                  <c:v>628</c:v>
                </c:pt>
                <c:pt idx="18">
                  <c:v>628</c:v>
                </c:pt>
                <c:pt idx="19">
                  <c:v>628</c:v>
                </c:pt>
                <c:pt idx="20">
                  <c:v>628</c:v>
                </c:pt>
                <c:pt idx="21">
                  <c:v>628</c:v>
                </c:pt>
                <c:pt idx="22">
                  <c:v>628</c:v>
                </c:pt>
                <c:pt idx="23">
                  <c:v>628</c:v>
                </c:pt>
                <c:pt idx="24">
                  <c:v>628</c:v>
                </c:pt>
                <c:pt idx="25">
                  <c:v>628</c:v>
                </c:pt>
                <c:pt idx="26">
                  <c:v>628</c:v>
                </c:pt>
                <c:pt idx="27">
                  <c:v>628</c:v>
                </c:pt>
                <c:pt idx="28">
                  <c:v>628</c:v>
                </c:pt>
                <c:pt idx="29">
                  <c:v>628</c:v>
                </c:pt>
                <c:pt idx="30">
                  <c:v>628</c:v>
                </c:pt>
                <c:pt idx="31">
                  <c:v>628</c:v>
                </c:pt>
                <c:pt idx="32">
                  <c:v>628</c:v>
                </c:pt>
                <c:pt idx="33">
                  <c:v>628</c:v>
                </c:pt>
                <c:pt idx="34">
                  <c:v>628</c:v>
                </c:pt>
                <c:pt idx="35">
                  <c:v>628</c:v>
                </c:pt>
                <c:pt idx="36">
                  <c:v>628</c:v>
                </c:pt>
                <c:pt idx="37">
                  <c:v>628</c:v>
                </c:pt>
                <c:pt idx="38">
                  <c:v>628</c:v>
                </c:pt>
                <c:pt idx="39">
                  <c:v>628</c:v>
                </c:pt>
                <c:pt idx="40">
                  <c:v>628</c:v>
                </c:pt>
                <c:pt idx="41">
                  <c:v>628</c:v>
                </c:pt>
                <c:pt idx="42">
                  <c:v>628</c:v>
                </c:pt>
                <c:pt idx="43">
                  <c:v>628</c:v>
                </c:pt>
                <c:pt idx="44">
                  <c:v>628</c:v>
                </c:pt>
                <c:pt idx="45">
                  <c:v>628</c:v>
                </c:pt>
                <c:pt idx="46">
                  <c:v>628</c:v>
                </c:pt>
                <c:pt idx="47">
                  <c:v>628</c:v>
                </c:pt>
                <c:pt idx="48">
                  <c:v>628</c:v>
                </c:pt>
                <c:pt idx="49">
                  <c:v>628</c:v>
                </c:pt>
                <c:pt idx="50">
                  <c:v>628</c:v>
                </c:pt>
                <c:pt idx="51">
                  <c:v>628</c:v>
                </c:pt>
                <c:pt idx="52">
                  <c:v>628</c:v>
                </c:pt>
                <c:pt idx="53">
                  <c:v>628</c:v>
                </c:pt>
                <c:pt idx="54">
                  <c:v>628</c:v>
                </c:pt>
                <c:pt idx="55">
                  <c:v>628</c:v>
                </c:pt>
                <c:pt idx="56">
                  <c:v>628</c:v>
                </c:pt>
                <c:pt idx="57">
                  <c:v>628</c:v>
                </c:pt>
                <c:pt idx="58">
                  <c:v>628</c:v>
                </c:pt>
                <c:pt idx="59">
                  <c:v>628</c:v>
                </c:pt>
                <c:pt idx="60">
                  <c:v>628</c:v>
                </c:pt>
                <c:pt idx="61">
                  <c:v>628</c:v>
                </c:pt>
                <c:pt idx="62">
                  <c:v>628</c:v>
                </c:pt>
                <c:pt idx="63">
                  <c:v>628</c:v>
                </c:pt>
                <c:pt idx="64">
                  <c:v>628</c:v>
                </c:pt>
                <c:pt idx="65">
                  <c:v>628</c:v>
                </c:pt>
                <c:pt idx="66">
                  <c:v>628</c:v>
                </c:pt>
                <c:pt idx="67">
                  <c:v>628</c:v>
                </c:pt>
                <c:pt idx="68">
                  <c:v>628</c:v>
                </c:pt>
                <c:pt idx="69">
                  <c:v>628</c:v>
                </c:pt>
                <c:pt idx="70">
                  <c:v>628</c:v>
                </c:pt>
                <c:pt idx="71">
                  <c:v>628</c:v>
                </c:pt>
                <c:pt idx="72">
                  <c:v>628</c:v>
                </c:pt>
                <c:pt idx="73">
                  <c:v>628</c:v>
                </c:pt>
                <c:pt idx="74">
                  <c:v>628</c:v>
                </c:pt>
                <c:pt idx="75">
                  <c:v>628</c:v>
                </c:pt>
                <c:pt idx="76">
                  <c:v>628</c:v>
                </c:pt>
                <c:pt idx="77">
                  <c:v>628</c:v>
                </c:pt>
                <c:pt idx="78">
                  <c:v>628</c:v>
                </c:pt>
                <c:pt idx="79">
                  <c:v>628</c:v>
                </c:pt>
                <c:pt idx="80">
                  <c:v>628</c:v>
                </c:pt>
                <c:pt idx="81">
                  <c:v>628</c:v>
                </c:pt>
                <c:pt idx="82">
                  <c:v>628</c:v>
                </c:pt>
                <c:pt idx="83">
                  <c:v>628</c:v>
                </c:pt>
                <c:pt idx="84">
                  <c:v>628</c:v>
                </c:pt>
                <c:pt idx="85">
                  <c:v>628</c:v>
                </c:pt>
                <c:pt idx="86">
                  <c:v>628</c:v>
                </c:pt>
                <c:pt idx="87">
                  <c:v>628</c:v>
                </c:pt>
                <c:pt idx="88">
                  <c:v>628</c:v>
                </c:pt>
                <c:pt idx="89">
                  <c:v>628</c:v>
                </c:pt>
                <c:pt idx="90">
                  <c:v>628</c:v>
                </c:pt>
                <c:pt idx="91">
                  <c:v>628</c:v>
                </c:pt>
                <c:pt idx="92">
                  <c:v>628</c:v>
                </c:pt>
                <c:pt idx="93">
                  <c:v>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3</c:v>
                </c:pt>
                <c:pt idx="1">
                  <c:v>182</c:v>
                </c:pt>
                <c:pt idx="2">
                  <c:v>290</c:v>
                </c:pt>
                <c:pt idx="3">
                  <c:v>444</c:v>
                </c:pt>
                <c:pt idx="4">
                  <c:v>591</c:v>
                </c:pt>
                <c:pt idx="5">
                  <c:v>735</c:v>
                </c:pt>
                <c:pt idx="6">
                  <c:v>848</c:v>
                </c:pt>
                <c:pt idx="7">
                  <c:v>948</c:v>
                </c:pt>
                <c:pt idx="8">
                  <c:v>1011</c:v>
                </c:pt>
                <c:pt idx="9">
                  <c:v>1107</c:v>
                </c:pt>
                <c:pt idx="10">
                  <c:v>1240</c:v>
                </c:pt>
                <c:pt idx="11">
                  <c:v>1342</c:v>
                </c:pt>
                <c:pt idx="12">
                  <c:v>1435</c:v>
                </c:pt>
                <c:pt idx="13">
                  <c:v>1512</c:v>
                </c:pt>
                <c:pt idx="14">
                  <c:v>1610</c:v>
                </c:pt>
                <c:pt idx="15">
                  <c:v>1664</c:v>
                </c:pt>
                <c:pt idx="16">
                  <c:v>1711</c:v>
                </c:pt>
                <c:pt idx="17">
                  <c:v>1785</c:v>
                </c:pt>
                <c:pt idx="18">
                  <c:v>1855</c:v>
                </c:pt>
                <c:pt idx="19">
                  <c:v>1931</c:v>
                </c:pt>
                <c:pt idx="20">
                  <c:v>1986</c:v>
                </c:pt>
                <c:pt idx="21">
                  <c:v>2045</c:v>
                </c:pt>
                <c:pt idx="22">
                  <c:v>2095</c:v>
                </c:pt>
                <c:pt idx="23">
                  <c:v>2131</c:v>
                </c:pt>
                <c:pt idx="24">
                  <c:v>2193</c:v>
                </c:pt>
                <c:pt idx="25">
                  <c:v>2258</c:v>
                </c:pt>
                <c:pt idx="26">
                  <c:v>2308</c:v>
                </c:pt>
                <c:pt idx="27">
                  <c:v>2360</c:v>
                </c:pt>
                <c:pt idx="28">
                  <c:v>2408</c:v>
                </c:pt>
                <c:pt idx="29">
                  <c:v>2453</c:v>
                </c:pt>
                <c:pt idx="30">
                  <c:v>2479</c:v>
                </c:pt>
                <c:pt idx="31">
                  <c:v>2537</c:v>
                </c:pt>
                <c:pt idx="32">
                  <c:v>2584</c:v>
                </c:pt>
                <c:pt idx="33">
                  <c:v>2629</c:v>
                </c:pt>
                <c:pt idx="34">
                  <c:v>2672</c:v>
                </c:pt>
                <c:pt idx="35">
                  <c:v>2733</c:v>
                </c:pt>
                <c:pt idx="36">
                  <c:v>2761</c:v>
                </c:pt>
                <c:pt idx="37">
                  <c:v>2784</c:v>
                </c:pt>
                <c:pt idx="38">
                  <c:v>2824</c:v>
                </c:pt>
                <c:pt idx="39">
                  <c:v>2867</c:v>
                </c:pt>
                <c:pt idx="40">
                  <c:v>2924</c:v>
                </c:pt>
                <c:pt idx="41">
                  <c:v>2970</c:v>
                </c:pt>
                <c:pt idx="42">
                  <c:v>3014</c:v>
                </c:pt>
                <c:pt idx="43">
                  <c:v>3056</c:v>
                </c:pt>
                <c:pt idx="44">
                  <c:v>3104</c:v>
                </c:pt>
                <c:pt idx="45">
                  <c:v>3163</c:v>
                </c:pt>
                <c:pt idx="46">
                  <c:v>3231</c:v>
                </c:pt>
                <c:pt idx="47">
                  <c:v>3324</c:v>
                </c:pt>
                <c:pt idx="48">
                  <c:v>3371</c:v>
                </c:pt>
                <c:pt idx="49">
                  <c:v>3436</c:v>
                </c:pt>
                <c:pt idx="50">
                  <c:v>3480</c:v>
                </c:pt>
                <c:pt idx="51">
                  <c:v>3547</c:v>
                </c:pt>
                <c:pt idx="52">
                  <c:v>3626</c:v>
                </c:pt>
                <c:pt idx="53">
                  <c:v>3695</c:v>
                </c:pt>
                <c:pt idx="54">
                  <c:v>3769</c:v>
                </c:pt>
                <c:pt idx="55">
                  <c:v>3839</c:v>
                </c:pt>
                <c:pt idx="56">
                  <c:v>3934</c:v>
                </c:pt>
                <c:pt idx="57">
                  <c:v>4004</c:v>
                </c:pt>
                <c:pt idx="58">
                  <c:v>4043</c:v>
                </c:pt>
                <c:pt idx="59">
                  <c:v>4141</c:v>
                </c:pt>
                <c:pt idx="60">
                  <c:v>4245</c:v>
                </c:pt>
                <c:pt idx="61">
                  <c:v>4335</c:v>
                </c:pt>
                <c:pt idx="62">
                  <c:v>4416</c:v>
                </c:pt>
                <c:pt idx="63">
                  <c:v>4512</c:v>
                </c:pt>
                <c:pt idx="64">
                  <c:v>4578</c:v>
                </c:pt>
                <c:pt idx="65">
                  <c:v>4640</c:v>
                </c:pt>
                <c:pt idx="66">
                  <c:v>4728</c:v>
                </c:pt>
                <c:pt idx="67">
                  <c:v>4839</c:v>
                </c:pt>
                <c:pt idx="68">
                  <c:v>4947</c:v>
                </c:pt>
                <c:pt idx="69">
                  <c:v>5020</c:v>
                </c:pt>
                <c:pt idx="70">
                  <c:v>5110</c:v>
                </c:pt>
                <c:pt idx="71">
                  <c:v>5174</c:v>
                </c:pt>
                <c:pt idx="72">
                  <c:v>5235</c:v>
                </c:pt>
                <c:pt idx="73">
                  <c:v>5312</c:v>
                </c:pt>
                <c:pt idx="74">
                  <c:v>5391</c:v>
                </c:pt>
                <c:pt idx="75">
                  <c:v>5480</c:v>
                </c:pt>
                <c:pt idx="76">
                  <c:v>5569</c:v>
                </c:pt>
                <c:pt idx="77">
                  <c:v>5647</c:v>
                </c:pt>
                <c:pt idx="78">
                  <c:v>5700</c:v>
                </c:pt>
                <c:pt idx="79">
                  <c:v>5772</c:v>
                </c:pt>
                <c:pt idx="80">
                  <c:v>5878</c:v>
                </c:pt>
                <c:pt idx="81">
                  <c:v>5965</c:v>
                </c:pt>
                <c:pt idx="82">
                  <c:v>6045</c:v>
                </c:pt>
                <c:pt idx="83">
                  <c:v>6145</c:v>
                </c:pt>
                <c:pt idx="84">
                  <c:v>6217</c:v>
                </c:pt>
                <c:pt idx="85">
                  <c:v>6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076.1236503842865</c:v>
                </c:pt>
                <c:pt idx="71">
                  <c:v>5143.469640168747</c:v>
                </c:pt>
                <c:pt idx="72">
                  <c:v>5208.9648454404796</c:v>
                </c:pt>
                <c:pt idx="73">
                  <c:v>5272.655537395477</c:v>
                </c:pt>
                <c:pt idx="74">
                  <c:v>5334.1238451382178</c:v>
                </c:pt>
                <c:pt idx="75">
                  <c:v>5393.5927201571776</c:v>
                </c:pt>
                <c:pt idx="76">
                  <c:v>5451.2480059542995</c:v>
                </c:pt>
                <c:pt idx="77">
                  <c:v>5507.0655809423661</c:v>
                </c:pt>
                <c:pt idx="78">
                  <c:v>5560.7906366978486</c:v>
                </c:pt>
                <c:pt idx="79">
                  <c:v>5612.3815825843985</c:v>
                </c:pt>
                <c:pt idx="80">
                  <c:v>5661.9951840691374</c:v>
                </c:pt>
                <c:pt idx="81">
                  <c:v>5709.7598757549622</c:v>
                </c:pt>
                <c:pt idx="82">
                  <c:v>5755.8211865892454</c:v>
                </c:pt>
                <c:pt idx="83">
                  <c:v>5800.1938773003749</c:v>
                </c:pt>
                <c:pt idx="84">
                  <c:v>5842.8871978846964</c:v>
                </c:pt>
                <c:pt idx="85">
                  <c:v>5883.9223341062516</c:v>
                </c:pt>
                <c:pt idx="86">
                  <c:v>5923.3771632085336</c:v>
                </c:pt>
                <c:pt idx="87">
                  <c:v>5961.3544128844387</c:v>
                </c:pt>
                <c:pt idx="88">
                  <c:v>5997.9300430183812</c:v>
                </c:pt>
                <c:pt idx="89">
                  <c:v>6033.1513461934792</c:v>
                </c:pt>
                <c:pt idx="90">
                  <c:v>6067.0354496092568</c:v>
                </c:pt>
                <c:pt idx="91">
                  <c:v>6099.6214028081376</c:v>
                </c:pt>
                <c:pt idx="92">
                  <c:v>6130.9664675461136</c:v>
                </c:pt>
                <c:pt idx="93">
                  <c:v>6161.1333019473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080.1932713477763</c:v>
                </c:pt>
                <c:pt idx="71">
                  <c:v>5153.1150845385382</c:v>
                </c:pt>
                <c:pt idx="72">
                  <c:v>5225.3102628061533</c:v>
                </c:pt>
                <c:pt idx="73">
                  <c:v>5296.8976663086532</c:v>
                </c:pt>
                <c:pt idx="74">
                  <c:v>5367.5261751221569</c:v>
                </c:pt>
                <c:pt idx="75">
                  <c:v>5437.227029132132</c:v>
                </c:pt>
                <c:pt idx="76">
                  <c:v>5506.061426923593</c:v>
                </c:pt>
                <c:pt idx="77">
                  <c:v>5574.0029347930649</c:v>
                </c:pt>
                <c:pt idx="78">
                  <c:v>5640.8135999322185</c:v>
                </c:pt>
                <c:pt idx="79">
                  <c:v>5706.4204751904772</c:v>
                </c:pt>
                <c:pt idx="80">
                  <c:v>5770.9033976700939</c:v>
                </c:pt>
                <c:pt idx="81">
                  <c:v>5834.2943696042703</c:v>
                </c:pt>
                <c:pt idx="82">
                  <c:v>5896.6407255025752</c:v>
                </c:pt>
                <c:pt idx="83">
                  <c:v>5957.9238545379603</c:v>
                </c:pt>
                <c:pt idx="84">
                  <c:v>6018.1234790238086</c:v>
                </c:pt>
                <c:pt idx="85">
                  <c:v>6077.2281995385529</c:v>
                </c:pt>
                <c:pt idx="86">
                  <c:v>6135.2644064721453</c:v>
                </c:pt>
                <c:pt idx="87">
                  <c:v>6192.2829688619986</c:v>
                </c:pt>
                <c:pt idx="88">
                  <c:v>6248.3152048195989</c:v>
                </c:pt>
                <c:pt idx="89">
                  <c:v>6303.3707977281474</c:v>
                </c:pt>
                <c:pt idx="90">
                  <c:v>6357.4383588260298</c:v>
                </c:pt>
                <c:pt idx="91">
                  <c:v>6410.5252533673447</c:v>
                </c:pt>
                <c:pt idx="92">
                  <c:v>6462.6576843530647</c:v>
                </c:pt>
                <c:pt idx="93">
                  <c:v>6513.8576398695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088.3325132747586</c:v>
                </c:pt>
                <c:pt idx="71">
                  <c:v>5172.6924690711412</c:v>
                </c:pt>
                <c:pt idx="72">
                  <c:v>5259.0922090074455</c:v>
                </c:pt>
                <c:pt idx="73">
                  <c:v>5347.9733043292472</c:v>
                </c:pt>
                <c:pt idx="74">
                  <c:v>5439.218432034987</c:v>
                </c:pt>
                <c:pt idx="75">
                  <c:v>5532.3946961512966</c:v>
                </c:pt>
                <c:pt idx="76">
                  <c:v>5627.3795128370348</c:v>
                </c:pt>
                <c:pt idx="77">
                  <c:v>5724.3615259717772</c:v>
                </c:pt>
                <c:pt idx="78">
                  <c:v>5823.4197702960591</c:v>
                </c:pt>
                <c:pt idx="79">
                  <c:v>5924.5517073086312</c:v>
                </c:pt>
                <c:pt idx="80">
                  <c:v>6027.7442811829696</c:v>
                </c:pt>
                <c:pt idx="81">
                  <c:v>6132.8530694066158</c:v>
                </c:pt>
                <c:pt idx="82">
                  <c:v>6239.8253942827796</c:v>
                </c:pt>
                <c:pt idx="83">
                  <c:v>6348.7373829315293</c:v>
                </c:pt>
                <c:pt idx="84">
                  <c:v>6459.6974292702889</c:v>
                </c:pt>
                <c:pt idx="85">
                  <c:v>6572.7469137296493</c:v>
                </c:pt>
                <c:pt idx="86">
                  <c:v>6687.8500172333152</c:v>
                </c:pt>
                <c:pt idx="87">
                  <c:v>6805.0057954177973</c:v>
                </c:pt>
                <c:pt idx="88">
                  <c:v>6924.2533601463356</c:v>
                </c:pt>
                <c:pt idx="89">
                  <c:v>7045.6564795200529</c:v>
                </c:pt>
                <c:pt idx="90">
                  <c:v>7169.2653336831063</c:v>
                </c:pt>
                <c:pt idx="91">
                  <c:v>7295.112465969627</c:v>
                </c:pt>
                <c:pt idx="92">
                  <c:v>7423.2095462785019</c:v>
                </c:pt>
                <c:pt idx="93">
                  <c:v>7553.5797333587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090.3655978782335</c:v>
                </c:pt>
                <c:pt idx="71">
                  <c:v>5177.6442348988057</c:v>
                </c:pt>
                <c:pt idx="72">
                  <c:v>5267.7640158792638</c:v>
                </c:pt>
                <c:pt idx="73">
                  <c:v>5361.2771240660941</c:v>
                </c:pt>
                <c:pt idx="74">
                  <c:v>5458.1526707461508</c:v>
                </c:pt>
                <c:pt idx="75">
                  <c:v>5557.8297403823017</c:v>
                </c:pt>
                <c:pt idx="76">
                  <c:v>5660.1619893759307</c:v>
                </c:pt>
                <c:pt idx="77">
                  <c:v>5765.4421154137144</c:v>
                </c:pt>
                <c:pt idx="78">
                  <c:v>5873.9132199085616</c:v>
                </c:pt>
                <c:pt idx="79">
                  <c:v>5985.6266623318834</c:v>
                </c:pt>
                <c:pt idx="80">
                  <c:v>6100.5622903238318</c:v>
                </c:pt>
                <c:pt idx="81">
                  <c:v>6218.550521706351</c:v>
                </c:pt>
                <c:pt idx="82">
                  <c:v>6339.5540194484065</c:v>
                </c:pt>
                <c:pt idx="83">
                  <c:v>6463.7333836700836</c:v>
                </c:pt>
                <c:pt idx="84">
                  <c:v>6591.2962489056799</c:v>
                </c:pt>
                <c:pt idx="85">
                  <c:v>6722.3370168079073</c:v>
                </c:pt>
                <c:pt idx="86">
                  <c:v>6856.8420594601348</c:v>
                </c:pt>
                <c:pt idx="87">
                  <c:v>6994.8283762385945</c:v>
                </c:pt>
                <c:pt idx="88">
                  <c:v>7136.3913519193211</c:v>
                </c:pt>
                <c:pt idx="89">
                  <c:v>7281.6755383841737</c:v>
                </c:pt>
                <c:pt idx="90">
                  <c:v>7430.8038514481232</c:v>
                </c:pt>
                <c:pt idx="91">
                  <c:v>7583.8710026829285</c:v>
                </c:pt>
                <c:pt idx="92">
                  <c:v>7740.9375265468152</c:v>
                </c:pt>
                <c:pt idx="93">
                  <c:v>7902.07468025154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12</c:v>
                </c:pt>
                <c:pt idx="1">
                  <c:v>330</c:v>
                </c:pt>
                <c:pt idx="2">
                  <c:v>353</c:v>
                </c:pt>
                <c:pt idx="3">
                  <c:v>390</c:v>
                </c:pt>
                <c:pt idx="4">
                  <c:v>405</c:v>
                </c:pt>
                <c:pt idx="5">
                  <c:v>424</c:v>
                </c:pt>
                <c:pt idx="6">
                  <c:v>417</c:v>
                </c:pt>
                <c:pt idx="7">
                  <c:v>423</c:v>
                </c:pt>
                <c:pt idx="8">
                  <c:v>374</c:v>
                </c:pt>
                <c:pt idx="9">
                  <c:v>367</c:v>
                </c:pt>
                <c:pt idx="10">
                  <c:v>392</c:v>
                </c:pt>
                <c:pt idx="11">
                  <c:v>426</c:v>
                </c:pt>
                <c:pt idx="12">
                  <c:v>391</c:v>
                </c:pt>
                <c:pt idx="13">
                  <c:v>386</c:v>
                </c:pt>
                <c:pt idx="14">
                  <c:v>408</c:v>
                </c:pt>
                <c:pt idx="15">
                  <c:v>381</c:v>
                </c:pt>
                <c:pt idx="16">
                  <c:v>360</c:v>
                </c:pt>
                <c:pt idx="17">
                  <c:v>368</c:v>
                </c:pt>
                <c:pt idx="18">
                  <c:v>369</c:v>
                </c:pt>
                <c:pt idx="19">
                  <c:v>374</c:v>
                </c:pt>
                <c:pt idx="20">
                  <c:v>370</c:v>
                </c:pt>
                <c:pt idx="21">
                  <c:v>386</c:v>
                </c:pt>
                <c:pt idx="22">
                  <c:v>346</c:v>
                </c:pt>
                <c:pt idx="23">
                  <c:v>351</c:v>
                </c:pt>
                <c:pt idx="24">
                  <c:v>369</c:v>
                </c:pt>
                <c:pt idx="25">
                  <c:v>347</c:v>
                </c:pt>
                <c:pt idx="26">
                  <c:v>337</c:v>
                </c:pt>
                <c:pt idx="27">
                  <c:v>325</c:v>
                </c:pt>
                <c:pt idx="28">
                  <c:v>324</c:v>
                </c:pt>
                <c:pt idx="29">
                  <c:v>298</c:v>
                </c:pt>
                <c:pt idx="30">
                  <c:v>300</c:v>
                </c:pt>
                <c:pt idx="31">
                  <c:v>332</c:v>
                </c:pt>
                <c:pt idx="32">
                  <c:v>322</c:v>
                </c:pt>
                <c:pt idx="33">
                  <c:v>313</c:v>
                </c:pt>
                <c:pt idx="34">
                  <c:v>318</c:v>
                </c:pt>
                <c:pt idx="35">
                  <c:v>316</c:v>
                </c:pt>
                <c:pt idx="36">
                  <c:v>301</c:v>
                </c:pt>
                <c:pt idx="37">
                  <c:v>305</c:v>
                </c:pt>
                <c:pt idx="38">
                  <c:v>320</c:v>
                </c:pt>
                <c:pt idx="39">
                  <c:v>326</c:v>
                </c:pt>
                <c:pt idx="40">
                  <c:v>321</c:v>
                </c:pt>
                <c:pt idx="41">
                  <c:v>320</c:v>
                </c:pt>
                <c:pt idx="42">
                  <c:v>342</c:v>
                </c:pt>
                <c:pt idx="43">
                  <c:v>333</c:v>
                </c:pt>
                <c:pt idx="44">
                  <c:v>345</c:v>
                </c:pt>
                <c:pt idx="45">
                  <c:v>369</c:v>
                </c:pt>
                <c:pt idx="46">
                  <c:v>376</c:v>
                </c:pt>
                <c:pt idx="47">
                  <c:v>390</c:v>
                </c:pt>
                <c:pt idx="48">
                  <c:v>379</c:v>
                </c:pt>
                <c:pt idx="49">
                  <c:v>397</c:v>
                </c:pt>
                <c:pt idx="50">
                  <c:v>370</c:v>
                </c:pt>
                <c:pt idx="51">
                  <c:v>380</c:v>
                </c:pt>
                <c:pt idx="52">
                  <c:v>400</c:v>
                </c:pt>
                <c:pt idx="53">
                  <c:v>419</c:v>
                </c:pt>
                <c:pt idx="54">
                  <c:v>432</c:v>
                </c:pt>
                <c:pt idx="55">
                  <c:v>425</c:v>
                </c:pt>
                <c:pt idx="56">
                  <c:v>448</c:v>
                </c:pt>
                <c:pt idx="57">
                  <c:v>414</c:v>
                </c:pt>
                <c:pt idx="58">
                  <c:v>443</c:v>
                </c:pt>
                <c:pt idx="59">
                  <c:v>510</c:v>
                </c:pt>
                <c:pt idx="60">
                  <c:v>533</c:v>
                </c:pt>
                <c:pt idx="61">
                  <c:v>542</c:v>
                </c:pt>
                <c:pt idx="62">
                  <c:v>547</c:v>
                </c:pt>
                <c:pt idx="63">
                  <c:v>575</c:v>
                </c:pt>
                <c:pt idx="64">
                  <c:v>548</c:v>
                </c:pt>
                <c:pt idx="65">
                  <c:v>568</c:v>
                </c:pt>
                <c:pt idx="66">
                  <c:v>598</c:v>
                </c:pt>
                <c:pt idx="67">
                  <c:v>614</c:v>
                </c:pt>
                <c:pt idx="68">
                  <c:v>598</c:v>
                </c:pt>
                <c:pt idx="69">
                  <c:v>601</c:v>
                </c:pt>
                <c:pt idx="70">
                  <c:v>605</c:v>
                </c:pt>
                <c:pt idx="71">
                  <c:v>587</c:v>
                </c:pt>
                <c:pt idx="72">
                  <c:v>609</c:v>
                </c:pt>
                <c:pt idx="73">
                  <c:v>657</c:v>
                </c:pt>
                <c:pt idx="74">
                  <c:v>672</c:v>
                </c:pt>
                <c:pt idx="75">
                  <c:v>667</c:v>
                </c:pt>
                <c:pt idx="76">
                  <c:v>666</c:v>
                </c:pt>
                <c:pt idx="77">
                  <c:v>668</c:v>
                </c:pt>
                <c:pt idx="78">
                  <c:v>609</c:v>
                </c:pt>
                <c:pt idx="79">
                  <c:v>602</c:v>
                </c:pt>
                <c:pt idx="80">
                  <c:v>626</c:v>
                </c:pt>
                <c:pt idx="81">
                  <c:v>623</c:v>
                </c:pt>
                <c:pt idx="82">
                  <c:v>596</c:v>
                </c:pt>
                <c:pt idx="83">
                  <c:v>599</c:v>
                </c:pt>
                <c:pt idx="84">
                  <c:v>618</c:v>
                </c:pt>
                <c:pt idx="85">
                  <c:v>585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98.9243150168021</c:v>
                </c:pt>
                <c:pt idx="71">
                  <c:v>592.45132974117746</c:v>
                </c:pt>
                <c:pt idx="72">
                  <c:v>585.07917276456658</c:v>
                </c:pt>
                <c:pt idx="73">
                  <c:v>576.62621474267871</c:v>
                </c:pt>
                <c:pt idx="74">
                  <c:v>566.79033658554351</c:v>
                </c:pt>
                <c:pt idx="75">
                  <c:v>556.14676425994094</c:v>
                </c:pt>
                <c:pt idx="76">
                  <c:v>544.8588915793423</c:v>
                </c:pt>
                <c:pt idx="77">
                  <c:v>532.78588010752082</c:v>
                </c:pt>
                <c:pt idx="78">
                  <c:v>519.97566867230273</c:v>
                </c:pt>
                <c:pt idx="79">
                  <c:v>506.59763790498317</c:v>
                </c:pt>
                <c:pt idx="80">
                  <c:v>492.79631735167055</c:v>
                </c:pt>
                <c:pt idx="81">
                  <c:v>478.65366850454075</c:v>
                </c:pt>
                <c:pt idx="82">
                  <c:v>464.42672550891001</c:v>
                </c:pt>
                <c:pt idx="83">
                  <c:v>450.19978868327939</c:v>
                </c:pt>
                <c:pt idx="84">
                  <c:v>436.07551152653775</c:v>
                </c:pt>
                <c:pt idx="85">
                  <c:v>422.08624025968879</c:v>
                </c:pt>
                <c:pt idx="86">
                  <c:v>408.23449026328922</c:v>
                </c:pt>
                <c:pt idx="87">
                  <c:v>394.42703982281807</c:v>
                </c:pt>
                <c:pt idx="88">
                  <c:v>380.72118643355395</c:v>
                </c:pt>
                <c:pt idx="89">
                  <c:v>367.26537564611897</c:v>
                </c:pt>
                <c:pt idx="90">
                  <c:v>354.1116628056435</c:v>
                </c:pt>
                <c:pt idx="91">
                  <c:v>341.30998570296879</c:v>
                </c:pt>
                <c:pt idx="92">
                  <c:v>328.84490325215404</c:v>
                </c:pt>
                <c:pt idx="93">
                  <c:v>316.74044413557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601.98915248761045</c:v>
                </c:pt>
                <c:pt idx="71">
                  <c:v>599.61713873812789</c:v>
                </c:pt>
                <c:pt idx="72">
                  <c:v>597.01332240694285</c:v>
                </c:pt>
                <c:pt idx="73">
                  <c:v>593.98375356242468</c:v>
                </c:pt>
                <c:pt idx="74">
                  <c:v>590.21801744172285</c:v>
                </c:pt>
                <c:pt idx="75">
                  <c:v>586.09410083400439</c:v>
                </c:pt>
                <c:pt idx="76">
                  <c:v>581.63109049982097</c:v>
                </c:pt>
                <c:pt idx="77">
                  <c:v>576.63097132248527</c:v>
                </c:pt>
                <c:pt idx="78">
                  <c:v>571.10982711715837</c:v>
                </c:pt>
                <c:pt idx="79">
                  <c:v>565.18347519538088</c:v>
                </c:pt>
                <c:pt idx="80">
                  <c:v>558.8864419880415</c:v>
                </c:pt>
                <c:pt idx="81">
                  <c:v>552.1572799229757</c:v>
                </c:pt>
                <c:pt idx="82">
                  <c:v>545.16766202385656</c:v>
                </c:pt>
                <c:pt idx="83">
                  <c:v>537.98867127046208</c:v>
                </c:pt>
                <c:pt idx="84">
                  <c:v>530.70477321255407</c:v>
                </c:pt>
                <c:pt idx="85">
                  <c:v>523.32107991361556</c:v>
                </c:pt>
                <c:pt idx="86">
                  <c:v>515.81803177259712</c:v>
                </c:pt>
                <c:pt idx="87">
                  <c:v>508.08806670881899</c:v>
                </c:pt>
                <c:pt idx="88">
                  <c:v>500.18156540707355</c:v>
                </c:pt>
                <c:pt idx="89">
                  <c:v>492.23780395614074</c:v>
                </c:pt>
                <c:pt idx="90">
                  <c:v>484.29889026145111</c:v>
                </c:pt>
                <c:pt idx="91">
                  <c:v>476.40104996992341</c:v>
                </c:pt>
                <c:pt idx="92">
                  <c:v>468.52577835288332</c:v>
                </c:pt>
                <c:pt idx="93">
                  <c:v>460.70167342690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608.11882742922728</c:v>
                </c:pt>
                <c:pt idx="71">
                  <c:v>614.16451713073684</c:v>
                </c:pt>
                <c:pt idx="72">
                  <c:v>621.69642694159847</c:v>
                </c:pt>
                <c:pt idx="73">
                  <c:v>630.61401857835563</c:v>
                </c:pt>
                <c:pt idx="74">
                  <c:v>640.6417012973792</c:v>
                </c:pt>
                <c:pt idx="75">
                  <c:v>651.67177124151817</c:v>
                </c:pt>
                <c:pt idx="76">
                  <c:v>663.45297045554594</c:v>
                </c:pt>
                <c:pt idx="77">
                  <c:v>675.80558745553105</c:v>
                </c:pt>
                <c:pt idx="78">
                  <c:v>688.85594478487326</c:v>
                </c:pt>
                <c:pt idx="79">
                  <c:v>702.66361145843825</c:v>
                </c:pt>
                <c:pt idx="80">
                  <c:v>717.03249410858325</c:v>
                </c:pt>
                <c:pt idx="81">
                  <c:v>731.56483419810161</c:v>
                </c:pt>
                <c:pt idx="82">
                  <c:v>746.26794930599817</c:v>
                </c:pt>
                <c:pt idx="83">
                  <c:v>761.23917898403408</c:v>
                </c:pt>
                <c:pt idx="84">
                  <c:v>776.59624154968037</c:v>
                </c:pt>
                <c:pt idx="85">
                  <c:v>792.30425727924546</c:v>
                </c:pt>
                <c:pt idx="86">
                  <c:v>808.25484578836813</c:v>
                </c:pt>
                <c:pt idx="87">
                  <c:v>824.27440011348892</c:v>
                </c:pt>
                <c:pt idx="88">
                  <c:v>840.394418651465</c:v>
                </c:pt>
                <c:pt idx="89">
                  <c:v>856.7547404136626</c:v>
                </c:pt>
                <c:pt idx="90">
                  <c:v>873.38978065756385</c:v>
                </c:pt>
                <c:pt idx="91">
                  <c:v>890.29809851950631</c:v>
                </c:pt>
                <c:pt idx="92">
                  <c:v>907.41285114992127</c:v>
                </c:pt>
                <c:pt idx="93">
                  <c:v>924.75508186019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609.64994640319333</c:v>
                </c:pt>
                <c:pt idx="71">
                  <c:v>617.8446462252806</c:v>
                </c:pt>
                <c:pt idx="72">
                  <c:v>628.03632045082486</c:v>
                </c:pt>
                <c:pt idx="73">
                  <c:v>640.16702041395138</c:v>
                </c:pt>
                <c:pt idx="74">
                  <c:v>653.98601598028699</c:v>
                </c:pt>
                <c:pt idx="75">
                  <c:v>669.24881494648139</c:v>
                </c:pt>
                <c:pt idx="76">
                  <c:v>685.64665503323204</c:v>
                </c:pt>
                <c:pt idx="77">
                  <c:v>703.03500063669139</c:v>
                </c:pt>
                <c:pt idx="78">
                  <c:v>721.62271565533922</c:v>
                </c:pt>
                <c:pt idx="79">
                  <c:v>741.4709300163297</c:v>
                </c:pt>
                <c:pt idx="80">
                  <c:v>762.32433742316448</c:v>
                </c:pt>
                <c:pt idx="81">
                  <c:v>783.70020068182134</c:v>
                </c:pt>
                <c:pt idx="82">
                  <c:v>805.57846689235828</c:v>
                </c:pt>
                <c:pt idx="83">
                  <c:v>828.09092804713566</c:v>
                </c:pt>
                <c:pt idx="84">
                  <c:v>851.39472308888458</c:v>
                </c:pt>
                <c:pt idx="85">
                  <c:v>875.45374806489224</c:v>
                </c:pt>
                <c:pt idx="86">
                  <c:v>900.1434724625949</c:v>
                </c:pt>
                <c:pt idx="87">
                  <c:v>925.27345102236507</c:v>
                </c:pt>
                <c:pt idx="88">
                  <c:v>950.88649090760214</c:v>
                </c:pt>
                <c:pt idx="89">
                  <c:v>977.14692003681466</c:v>
                </c:pt>
                <c:pt idx="90">
                  <c:v>1004.1031102315517</c:v>
                </c:pt>
                <c:pt idx="91">
                  <c:v>1031.7578676170651</c:v>
                </c:pt>
                <c:pt idx="92">
                  <c:v>1060.0417905455113</c:v>
                </c:pt>
                <c:pt idx="93">
                  <c:v>1088.9782912470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6</c:v>
                </c:pt>
                <c:pt idx="1">
                  <c:v>646</c:v>
                </c:pt>
                <c:pt idx="2">
                  <c:v>646</c:v>
                </c:pt>
                <c:pt idx="3">
                  <c:v>646</c:v>
                </c:pt>
                <c:pt idx="4">
                  <c:v>646</c:v>
                </c:pt>
                <c:pt idx="5">
                  <c:v>646</c:v>
                </c:pt>
                <c:pt idx="6">
                  <c:v>646</c:v>
                </c:pt>
                <c:pt idx="7">
                  <c:v>646</c:v>
                </c:pt>
                <c:pt idx="8">
                  <c:v>646</c:v>
                </c:pt>
                <c:pt idx="9">
                  <c:v>646</c:v>
                </c:pt>
                <c:pt idx="10">
                  <c:v>646</c:v>
                </c:pt>
                <c:pt idx="11">
                  <c:v>646</c:v>
                </c:pt>
                <c:pt idx="12">
                  <c:v>646</c:v>
                </c:pt>
                <c:pt idx="13">
                  <c:v>646</c:v>
                </c:pt>
                <c:pt idx="14">
                  <c:v>646</c:v>
                </c:pt>
                <c:pt idx="15">
                  <c:v>646</c:v>
                </c:pt>
                <c:pt idx="16">
                  <c:v>646</c:v>
                </c:pt>
                <c:pt idx="17">
                  <c:v>646</c:v>
                </c:pt>
                <c:pt idx="18">
                  <c:v>646</c:v>
                </c:pt>
                <c:pt idx="19">
                  <c:v>646</c:v>
                </c:pt>
                <c:pt idx="20">
                  <c:v>646</c:v>
                </c:pt>
                <c:pt idx="21">
                  <c:v>646</c:v>
                </c:pt>
                <c:pt idx="22">
                  <c:v>646</c:v>
                </c:pt>
                <c:pt idx="23">
                  <c:v>646</c:v>
                </c:pt>
                <c:pt idx="24">
                  <c:v>646</c:v>
                </c:pt>
                <c:pt idx="25">
                  <c:v>646</c:v>
                </c:pt>
                <c:pt idx="26">
                  <c:v>646</c:v>
                </c:pt>
                <c:pt idx="27">
                  <c:v>646</c:v>
                </c:pt>
                <c:pt idx="28">
                  <c:v>646</c:v>
                </c:pt>
                <c:pt idx="29">
                  <c:v>646</c:v>
                </c:pt>
                <c:pt idx="30">
                  <c:v>646</c:v>
                </c:pt>
                <c:pt idx="31">
                  <c:v>646</c:v>
                </c:pt>
                <c:pt idx="32">
                  <c:v>646</c:v>
                </c:pt>
                <c:pt idx="33">
                  <c:v>646</c:v>
                </c:pt>
                <c:pt idx="34">
                  <c:v>646</c:v>
                </c:pt>
                <c:pt idx="35">
                  <c:v>646</c:v>
                </c:pt>
                <c:pt idx="36">
                  <c:v>646</c:v>
                </c:pt>
                <c:pt idx="37">
                  <c:v>646</c:v>
                </c:pt>
                <c:pt idx="38">
                  <c:v>646</c:v>
                </c:pt>
                <c:pt idx="39">
                  <c:v>646</c:v>
                </c:pt>
                <c:pt idx="40">
                  <c:v>646</c:v>
                </c:pt>
                <c:pt idx="41">
                  <c:v>646</c:v>
                </c:pt>
                <c:pt idx="42">
                  <c:v>646</c:v>
                </c:pt>
                <c:pt idx="43">
                  <c:v>646</c:v>
                </c:pt>
                <c:pt idx="44">
                  <c:v>646</c:v>
                </c:pt>
                <c:pt idx="45">
                  <c:v>646</c:v>
                </c:pt>
                <c:pt idx="46">
                  <c:v>646</c:v>
                </c:pt>
                <c:pt idx="47">
                  <c:v>646</c:v>
                </c:pt>
                <c:pt idx="48">
                  <c:v>646</c:v>
                </c:pt>
                <c:pt idx="49">
                  <c:v>646</c:v>
                </c:pt>
                <c:pt idx="50">
                  <c:v>646</c:v>
                </c:pt>
                <c:pt idx="51">
                  <c:v>646</c:v>
                </c:pt>
                <c:pt idx="52">
                  <c:v>646</c:v>
                </c:pt>
                <c:pt idx="53">
                  <c:v>646</c:v>
                </c:pt>
                <c:pt idx="54">
                  <c:v>646</c:v>
                </c:pt>
                <c:pt idx="55">
                  <c:v>646</c:v>
                </c:pt>
                <c:pt idx="56">
                  <c:v>646</c:v>
                </c:pt>
                <c:pt idx="57">
                  <c:v>646</c:v>
                </c:pt>
                <c:pt idx="58">
                  <c:v>646</c:v>
                </c:pt>
                <c:pt idx="59">
                  <c:v>646</c:v>
                </c:pt>
                <c:pt idx="60">
                  <c:v>646</c:v>
                </c:pt>
                <c:pt idx="61">
                  <c:v>646</c:v>
                </c:pt>
                <c:pt idx="62">
                  <c:v>646</c:v>
                </c:pt>
                <c:pt idx="63">
                  <c:v>646</c:v>
                </c:pt>
                <c:pt idx="64">
                  <c:v>646</c:v>
                </c:pt>
                <c:pt idx="65">
                  <c:v>646</c:v>
                </c:pt>
                <c:pt idx="66">
                  <c:v>646</c:v>
                </c:pt>
                <c:pt idx="67">
                  <c:v>646</c:v>
                </c:pt>
                <c:pt idx="68">
                  <c:v>646</c:v>
                </c:pt>
                <c:pt idx="69">
                  <c:v>646</c:v>
                </c:pt>
                <c:pt idx="70">
                  <c:v>646</c:v>
                </c:pt>
                <c:pt idx="71">
                  <c:v>646</c:v>
                </c:pt>
                <c:pt idx="72">
                  <c:v>646</c:v>
                </c:pt>
                <c:pt idx="73">
                  <c:v>646</c:v>
                </c:pt>
                <c:pt idx="74">
                  <c:v>646</c:v>
                </c:pt>
                <c:pt idx="75">
                  <c:v>646</c:v>
                </c:pt>
                <c:pt idx="76">
                  <c:v>646</c:v>
                </c:pt>
                <c:pt idx="77">
                  <c:v>646</c:v>
                </c:pt>
                <c:pt idx="78">
                  <c:v>646</c:v>
                </c:pt>
                <c:pt idx="79">
                  <c:v>646</c:v>
                </c:pt>
                <c:pt idx="80">
                  <c:v>646</c:v>
                </c:pt>
                <c:pt idx="81">
                  <c:v>646</c:v>
                </c:pt>
                <c:pt idx="82">
                  <c:v>646</c:v>
                </c:pt>
                <c:pt idx="83">
                  <c:v>646</c:v>
                </c:pt>
                <c:pt idx="84">
                  <c:v>646</c:v>
                </c:pt>
                <c:pt idx="85">
                  <c:v>646</c:v>
                </c:pt>
                <c:pt idx="86">
                  <c:v>646</c:v>
                </c:pt>
                <c:pt idx="87">
                  <c:v>646</c:v>
                </c:pt>
                <c:pt idx="88">
                  <c:v>646</c:v>
                </c:pt>
                <c:pt idx="89">
                  <c:v>646</c:v>
                </c:pt>
                <c:pt idx="90">
                  <c:v>646</c:v>
                </c:pt>
                <c:pt idx="91">
                  <c:v>646</c:v>
                </c:pt>
                <c:pt idx="92">
                  <c:v>646</c:v>
                </c:pt>
                <c:pt idx="93">
                  <c:v>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96</c:v>
                </c:pt>
                <c:pt idx="2">
                  <c:v>296</c:v>
                </c:pt>
                <c:pt idx="3">
                  <c:v>325</c:v>
                </c:pt>
                <c:pt idx="4">
                  <c:v>348</c:v>
                </c:pt>
                <c:pt idx="5">
                  <c:v>342</c:v>
                </c:pt>
                <c:pt idx="6">
                  <c:v>356</c:v>
                </c:pt>
                <c:pt idx="7">
                  <c:v>335</c:v>
                </c:pt>
                <c:pt idx="8">
                  <c:v>304</c:v>
                </c:pt>
                <c:pt idx="9">
                  <c:v>300</c:v>
                </c:pt>
                <c:pt idx="10">
                  <c:v>313</c:v>
                </c:pt>
                <c:pt idx="11">
                  <c:v>325</c:v>
                </c:pt>
                <c:pt idx="12">
                  <c:v>332</c:v>
                </c:pt>
                <c:pt idx="13">
                  <c:v>330</c:v>
                </c:pt>
                <c:pt idx="14">
                  <c:v>331</c:v>
                </c:pt>
                <c:pt idx="15">
                  <c:v>302</c:v>
                </c:pt>
                <c:pt idx="16">
                  <c:v>314</c:v>
                </c:pt>
                <c:pt idx="17">
                  <c:v>324</c:v>
                </c:pt>
                <c:pt idx="18">
                  <c:v>345</c:v>
                </c:pt>
                <c:pt idx="19">
                  <c:v>348</c:v>
                </c:pt>
                <c:pt idx="20">
                  <c:v>353</c:v>
                </c:pt>
                <c:pt idx="21">
                  <c:v>356</c:v>
                </c:pt>
                <c:pt idx="22">
                  <c:v>339</c:v>
                </c:pt>
                <c:pt idx="23">
                  <c:v>344</c:v>
                </c:pt>
                <c:pt idx="24">
                  <c:v>359</c:v>
                </c:pt>
                <c:pt idx="25">
                  <c:v>360</c:v>
                </c:pt>
                <c:pt idx="26">
                  <c:v>349</c:v>
                </c:pt>
                <c:pt idx="27">
                  <c:v>348</c:v>
                </c:pt>
                <c:pt idx="28">
                  <c:v>365</c:v>
                </c:pt>
                <c:pt idx="29">
                  <c:v>350</c:v>
                </c:pt>
                <c:pt idx="30">
                  <c:v>345</c:v>
                </c:pt>
                <c:pt idx="31">
                  <c:v>373</c:v>
                </c:pt>
                <c:pt idx="32">
                  <c:v>364</c:v>
                </c:pt>
                <c:pt idx="33">
                  <c:v>380</c:v>
                </c:pt>
                <c:pt idx="34">
                  <c:v>378</c:v>
                </c:pt>
                <c:pt idx="35">
                  <c:v>405</c:v>
                </c:pt>
                <c:pt idx="36">
                  <c:v>375</c:v>
                </c:pt>
                <c:pt idx="37">
                  <c:v>387</c:v>
                </c:pt>
                <c:pt idx="38">
                  <c:v>422</c:v>
                </c:pt>
                <c:pt idx="39">
                  <c:v>424</c:v>
                </c:pt>
                <c:pt idx="40">
                  <c:v>444</c:v>
                </c:pt>
                <c:pt idx="41">
                  <c:v>431</c:v>
                </c:pt>
                <c:pt idx="42">
                  <c:v>451</c:v>
                </c:pt>
                <c:pt idx="43">
                  <c:v>441</c:v>
                </c:pt>
                <c:pt idx="44">
                  <c:v>457</c:v>
                </c:pt>
                <c:pt idx="45">
                  <c:v>507</c:v>
                </c:pt>
                <c:pt idx="46">
                  <c:v>497</c:v>
                </c:pt>
                <c:pt idx="47">
                  <c:v>508</c:v>
                </c:pt>
                <c:pt idx="48">
                  <c:v>517</c:v>
                </c:pt>
                <c:pt idx="49">
                  <c:v>539</c:v>
                </c:pt>
                <c:pt idx="50">
                  <c:v>520</c:v>
                </c:pt>
                <c:pt idx="51">
                  <c:v>542</c:v>
                </c:pt>
                <c:pt idx="52">
                  <c:v>597</c:v>
                </c:pt>
                <c:pt idx="53">
                  <c:v>589</c:v>
                </c:pt>
                <c:pt idx="54">
                  <c:v>603</c:v>
                </c:pt>
                <c:pt idx="55">
                  <c:v>594</c:v>
                </c:pt>
                <c:pt idx="56">
                  <c:v>618</c:v>
                </c:pt>
                <c:pt idx="57">
                  <c:v>603</c:v>
                </c:pt>
                <c:pt idx="58">
                  <c:v>607</c:v>
                </c:pt>
                <c:pt idx="59">
                  <c:v>686</c:v>
                </c:pt>
                <c:pt idx="60">
                  <c:v>716</c:v>
                </c:pt>
                <c:pt idx="61">
                  <c:v>687</c:v>
                </c:pt>
                <c:pt idx="62">
                  <c:v>680</c:v>
                </c:pt>
                <c:pt idx="63">
                  <c:v>661</c:v>
                </c:pt>
                <c:pt idx="64">
                  <c:v>648</c:v>
                </c:pt>
                <c:pt idx="65">
                  <c:v>654</c:v>
                </c:pt>
                <c:pt idx="66">
                  <c:v>668</c:v>
                </c:pt>
                <c:pt idx="67">
                  <c:v>675</c:v>
                </c:pt>
                <c:pt idx="68">
                  <c:v>684</c:v>
                </c:pt>
                <c:pt idx="69">
                  <c:v>661</c:v>
                </c:pt>
                <c:pt idx="70">
                  <c:v>654</c:v>
                </c:pt>
                <c:pt idx="71">
                  <c:v>637</c:v>
                </c:pt>
                <c:pt idx="72">
                  <c:v>648</c:v>
                </c:pt>
                <c:pt idx="73">
                  <c:v>670</c:v>
                </c:pt>
                <c:pt idx="74">
                  <c:v>673</c:v>
                </c:pt>
                <c:pt idx="75">
                  <c:v>647</c:v>
                </c:pt>
                <c:pt idx="76">
                  <c:v>620</c:v>
                </c:pt>
                <c:pt idx="77">
                  <c:v>613</c:v>
                </c:pt>
                <c:pt idx="78">
                  <c:v>601</c:v>
                </c:pt>
                <c:pt idx="79">
                  <c:v>573</c:v>
                </c:pt>
                <c:pt idx="80">
                  <c:v>603</c:v>
                </c:pt>
                <c:pt idx="81">
                  <c:v>588</c:v>
                </c:pt>
                <c:pt idx="82">
                  <c:v>551</c:v>
                </c:pt>
                <c:pt idx="83">
                  <c:v>537</c:v>
                </c:pt>
                <c:pt idx="84">
                  <c:v>504</c:v>
                </c:pt>
                <c:pt idx="85">
                  <c:v>47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13.6603350499837</c:v>
                </c:pt>
                <c:pt idx="71">
                  <c:v>706.25202990823232</c:v>
                </c:pt>
                <c:pt idx="72">
                  <c:v>697.74568738468656</c:v>
                </c:pt>
                <c:pt idx="73">
                  <c:v>687.90587938565773</c:v>
                </c:pt>
                <c:pt idx="74">
                  <c:v>676.36131605217565</c:v>
                </c:pt>
                <c:pt idx="75">
                  <c:v>663.82612255273887</c:v>
                </c:pt>
                <c:pt idx="76">
                  <c:v>650.50838789918248</c:v>
                </c:pt>
                <c:pt idx="77">
                  <c:v>636.23403191714272</c:v>
                </c:pt>
                <c:pt idx="78">
                  <c:v>621.06011968643281</c:v>
                </c:pt>
                <c:pt idx="79">
                  <c:v>605.18721297294439</c:v>
                </c:pt>
                <c:pt idx="80">
                  <c:v>588.78326194504143</c:v>
                </c:pt>
                <c:pt idx="81">
                  <c:v>571.94552754084782</c:v>
                </c:pt>
                <c:pt idx="82">
                  <c:v>554.9942043143177</c:v>
                </c:pt>
                <c:pt idx="83">
                  <c:v>538.036355129139</c:v>
                </c:pt>
                <c:pt idx="84">
                  <c:v>521.19154708655628</c:v>
                </c:pt>
                <c:pt idx="85">
                  <c:v>504.49841673917774</c:v>
                </c:pt>
                <c:pt idx="86">
                  <c:v>487.96456146198642</c:v>
                </c:pt>
                <c:pt idx="87">
                  <c:v>471.4822915508035</c:v>
                </c:pt>
                <c:pt idx="88">
                  <c:v>455.11399587828828</c:v>
                </c:pt>
                <c:pt idx="89">
                  <c:v>439.03742402413314</c:v>
                </c:pt>
                <c:pt idx="90">
                  <c:v>423.31739133463032</c:v>
                </c:pt>
                <c:pt idx="91">
                  <c:v>408.01403915032671</c:v>
                </c:pt>
                <c:pt idx="92">
                  <c:v>393.11001107183546</c:v>
                </c:pt>
                <c:pt idx="93">
                  <c:v>378.634431399538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17.33099049003545</c:v>
                </c:pt>
                <c:pt idx="71">
                  <c:v>714.83417670077324</c:v>
                </c:pt>
                <c:pt idx="72">
                  <c:v>712.03796331731439</c:v>
                </c:pt>
                <c:pt idx="73">
                  <c:v>708.6909039467107</c:v>
                </c:pt>
                <c:pt idx="74">
                  <c:v>704.41168092252451</c:v>
                </c:pt>
                <c:pt idx="75">
                  <c:v>699.67761221435649</c:v>
                </c:pt>
                <c:pt idx="76">
                  <c:v>694.52407097908394</c:v>
                </c:pt>
                <c:pt idx="77">
                  <c:v>688.70752151789134</c:v>
                </c:pt>
                <c:pt idx="78">
                  <c:v>682.24837581140707</c:v>
                </c:pt>
                <c:pt idx="79">
                  <c:v>675.2845794001413</c:v>
                </c:pt>
                <c:pt idx="80">
                  <c:v>667.85301661129847</c:v>
                </c:pt>
                <c:pt idx="81">
                  <c:v>659.8800983628804</c:v>
                </c:pt>
                <c:pt idx="82">
                  <c:v>651.58383073656046</c:v>
                </c:pt>
                <c:pt idx="83">
                  <c:v>643.05536723493265</c:v>
                </c:pt>
                <c:pt idx="84">
                  <c:v>634.3925808440008</c:v>
                </c:pt>
                <c:pt idx="85">
                  <c:v>625.60105056278246</c:v>
                </c:pt>
                <c:pt idx="86">
                  <c:v>616.66224486770102</c:v>
                </c:pt>
                <c:pt idx="87">
                  <c:v>607.45149730951312</c:v>
                </c:pt>
                <c:pt idx="88">
                  <c:v>598.02266393184914</c:v>
                </c:pt>
                <c:pt idx="89">
                  <c:v>588.54262278469866</c:v>
                </c:pt>
                <c:pt idx="90">
                  <c:v>579.06399493231515</c:v>
                </c:pt>
                <c:pt idx="91">
                  <c:v>569.63031418534433</c:v>
                </c:pt>
                <c:pt idx="92">
                  <c:v>560.22014666413259</c:v>
                </c:pt>
                <c:pt idx="93">
                  <c:v>550.86800372557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24.67230137013894</c:v>
                </c:pt>
                <c:pt idx="71">
                  <c:v>732.256879447453</c:v>
                </c:pt>
                <c:pt idx="72">
                  <c:v>741.59837314250581</c:v>
                </c:pt>
                <c:pt idx="73">
                  <c:v>752.55463849003422</c:v>
                </c:pt>
                <c:pt idx="74">
                  <c:v>764.7857248132276</c:v>
                </c:pt>
                <c:pt idx="75">
                  <c:v>778.18588646943135</c:v>
                </c:pt>
                <c:pt idx="76">
                  <c:v>792.46668902350643</c:v>
                </c:pt>
                <c:pt idx="77">
                  <c:v>807.4043358260792</c:v>
                </c:pt>
                <c:pt idx="78">
                  <c:v>823.154021621124</c:v>
                </c:pt>
                <c:pt idx="79">
                  <c:v>839.78920440604952</c:v>
                </c:pt>
                <c:pt idx="80">
                  <c:v>857.07183054284758</c:v>
                </c:pt>
                <c:pt idx="81">
                  <c:v>874.52729994701519</c:v>
                </c:pt>
                <c:pt idx="82">
                  <c:v>892.17696500326826</c:v>
                </c:pt>
                <c:pt idx="83">
                  <c:v>910.14332630940203</c:v>
                </c:pt>
                <c:pt idx="84">
                  <c:v>928.56424770116485</c:v>
                </c:pt>
                <c:pt idx="85">
                  <c:v>947.39649567006313</c:v>
                </c:pt>
                <c:pt idx="86">
                  <c:v>966.51577353000539</c:v>
                </c:pt>
                <c:pt idx="87">
                  <c:v>985.71878704211031</c:v>
                </c:pt>
                <c:pt idx="88">
                  <c:v>1005.0364269456401</c:v>
                </c:pt>
                <c:pt idx="89">
                  <c:v>1024.636587113195</c:v>
                </c:pt>
                <c:pt idx="90">
                  <c:v>1044.5621968310043</c:v>
                </c:pt>
                <c:pt idx="91">
                  <c:v>1064.8113293768602</c:v>
                </c:pt>
                <c:pt idx="92">
                  <c:v>1085.3038534345303</c:v>
                </c:pt>
                <c:pt idx="93">
                  <c:v>1106.065100159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26.50607240846841</c:v>
                </c:pt>
                <c:pt idx="71">
                  <c:v>736.66439560328706</c:v>
                </c:pt>
                <c:pt idx="72">
                  <c:v>749.19102067509255</c:v>
                </c:pt>
                <c:pt idx="73">
                  <c:v>763.99415848534045</c:v>
                </c:pt>
                <c:pt idx="74">
                  <c:v>780.7635148809652</c:v>
                </c:pt>
                <c:pt idx="75">
                  <c:v>799.22913254759032</c:v>
                </c:pt>
                <c:pt idx="76">
                  <c:v>819.03364723584605</c:v>
                </c:pt>
                <c:pt idx="77">
                  <c:v>839.99479603800683</c:v>
                </c:pt>
                <c:pt idx="78">
                  <c:v>862.36726401182977</c:v>
                </c:pt>
                <c:pt idx="79">
                  <c:v>886.2270507971956</c:v>
                </c:pt>
                <c:pt idx="80">
                  <c:v>911.26547419288704</c:v>
                </c:pt>
                <c:pt idx="81">
                  <c:v>936.90657482975416</c:v>
                </c:pt>
                <c:pt idx="82">
                  <c:v>963.13897376573755</c:v>
                </c:pt>
                <c:pt idx="83">
                  <c:v>990.1264021886891</c:v>
                </c:pt>
                <c:pt idx="84">
                  <c:v>1018.0539559675715</c:v>
                </c:pt>
                <c:pt idx="85">
                  <c:v>1046.8766751023177</c:v>
                </c:pt>
                <c:pt idx="86">
                  <c:v>1076.4510510595208</c:v>
                </c:pt>
                <c:pt idx="87">
                  <c:v>1106.5537402688888</c:v>
                </c:pt>
                <c:pt idx="88">
                  <c:v>1137.2291016220906</c:v>
                </c:pt>
                <c:pt idx="89">
                  <c:v>1168.6744462358261</c:v>
                </c:pt>
                <c:pt idx="90">
                  <c:v>1200.9492940878863</c:v>
                </c:pt>
                <c:pt idx="91">
                  <c:v>1234.0566971948151</c:v>
                </c:pt>
                <c:pt idx="92">
                  <c:v>1267.9132445773487</c:v>
                </c:pt>
                <c:pt idx="93">
                  <c:v>1302.5470598636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63</c:v>
                </c:pt>
                <c:pt idx="1">
                  <c:v>463</c:v>
                </c:pt>
                <c:pt idx="2">
                  <c:v>463</c:v>
                </c:pt>
                <c:pt idx="3">
                  <c:v>463</c:v>
                </c:pt>
                <c:pt idx="4">
                  <c:v>463</c:v>
                </c:pt>
                <c:pt idx="5">
                  <c:v>463</c:v>
                </c:pt>
                <c:pt idx="6">
                  <c:v>463</c:v>
                </c:pt>
                <c:pt idx="7">
                  <c:v>463</c:v>
                </c:pt>
                <c:pt idx="8">
                  <c:v>463</c:v>
                </c:pt>
                <c:pt idx="9">
                  <c:v>463</c:v>
                </c:pt>
                <c:pt idx="10">
                  <c:v>463</c:v>
                </c:pt>
                <c:pt idx="11">
                  <c:v>463</c:v>
                </c:pt>
                <c:pt idx="12">
                  <c:v>463</c:v>
                </c:pt>
                <c:pt idx="13">
                  <c:v>463</c:v>
                </c:pt>
                <c:pt idx="14">
                  <c:v>463</c:v>
                </c:pt>
                <c:pt idx="15">
                  <c:v>463</c:v>
                </c:pt>
                <c:pt idx="16">
                  <c:v>463</c:v>
                </c:pt>
                <c:pt idx="17">
                  <c:v>463</c:v>
                </c:pt>
                <c:pt idx="18">
                  <c:v>463</c:v>
                </c:pt>
                <c:pt idx="19">
                  <c:v>463</c:v>
                </c:pt>
                <c:pt idx="20">
                  <c:v>463</c:v>
                </c:pt>
                <c:pt idx="21">
                  <c:v>463</c:v>
                </c:pt>
                <c:pt idx="22">
                  <c:v>463</c:v>
                </c:pt>
                <c:pt idx="23">
                  <c:v>463</c:v>
                </c:pt>
                <c:pt idx="24">
                  <c:v>463</c:v>
                </c:pt>
                <c:pt idx="25">
                  <c:v>463</c:v>
                </c:pt>
                <c:pt idx="26">
                  <c:v>463</c:v>
                </c:pt>
                <c:pt idx="27">
                  <c:v>463</c:v>
                </c:pt>
                <c:pt idx="28">
                  <c:v>463</c:v>
                </c:pt>
                <c:pt idx="29">
                  <c:v>463</c:v>
                </c:pt>
                <c:pt idx="30">
                  <c:v>463</c:v>
                </c:pt>
                <c:pt idx="31">
                  <c:v>463</c:v>
                </c:pt>
                <c:pt idx="32">
                  <c:v>463</c:v>
                </c:pt>
                <c:pt idx="33">
                  <c:v>463</c:v>
                </c:pt>
                <c:pt idx="34">
                  <c:v>463</c:v>
                </c:pt>
                <c:pt idx="35">
                  <c:v>463</c:v>
                </c:pt>
                <c:pt idx="36">
                  <c:v>463</c:v>
                </c:pt>
                <c:pt idx="37">
                  <c:v>463</c:v>
                </c:pt>
                <c:pt idx="38">
                  <c:v>463</c:v>
                </c:pt>
                <c:pt idx="39">
                  <c:v>463</c:v>
                </c:pt>
                <c:pt idx="40">
                  <c:v>463</c:v>
                </c:pt>
                <c:pt idx="41">
                  <c:v>463</c:v>
                </c:pt>
                <c:pt idx="42">
                  <c:v>463</c:v>
                </c:pt>
                <c:pt idx="43">
                  <c:v>463</c:v>
                </c:pt>
                <c:pt idx="44">
                  <c:v>463</c:v>
                </c:pt>
                <c:pt idx="45">
                  <c:v>463</c:v>
                </c:pt>
                <c:pt idx="46">
                  <c:v>463</c:v>
                </c:pt>
                <c:pt idx="47">
                  <c:v>463</c:v>
                </c:pt>
                <c:pt idx="48">
                  <c:v>463</c:v>
                </c:pt>
                <c:pt idx="49">
                  <c:v>463</c:v>
                </c:pt>
                <c:pt idx="50">
                  <c:v>463</c:v>
                </c:pt>
                <c:pt idx="51">
                  <c:v>463</c:v>
                </c:pt>
                <c:pt idx="52">
                  <c:v>463</c:v>
                </c:pt>
                <c:pt idx="53">
                  <c:v>463</c:v>
                </c:pt>
                <c:pt idx="54">
                  <c:v>463</c:v>
                </c:pt>
                <c:pt idx="55">
                  <c:v>463</c:v>
                </c:pt>
                <c:pt idx="56">
                  <c:v>463</c:v>
                </c:pt>
                <c:pt idx="57">
                  <c:v>463</c:v>
                </c:pt>
                <c:pt idx="58">
                  <c:v>463</c:v>
                </c:pt>
                <c:pt idx="59">
                  <c:v>463</c:v>
                </c:pt>
                <c:pt idx="60">
                  <c:v>463</c:v>
                </c:pt>
                <c:pt idx="61">
                  <c:v>463</c:v>
                </c:pt>
                <c:pt idx="62">
                  <c:v>463</c:v>
                </c:pt>
                <c:pt idx="63">
                  <c:v>463</c:v>
                </c:pt>
                <c:pt idx="64">
                  <c:v>463</c:v>
                </c:pt>
                <c:pt idx="65">
                  <c:v>463</c:v>
                </c:pt>
                <c:pt idx="66">
                  <c:v>463</c:v>
                </c:pt>
                <c:pt idx="67">
                  <c:v>463</c:v>
                </c:pt>
                <c:pt idx="68">
                  <c:v>463</c:v>
                </c:pt>
                <c:pt idx="69">
                  <c:v>463</c:v>
                </c:pt>
                <c:pt idx="70">
                  <c:v>463</c:v>
                </c:pt>
                <c:pt idx="71">
                  <c:v>463</c:v>
                </c:pt>
                <c:pt idx="72">
                  <c:v>463</c:v>
                </c:pt>
                <c:pt idx="73">
                  <c:v>463</c:v>
                </c:pt>
                <c:pt idx="74">
                  <c:v>463</c:v>
                </c:pt>
                <c:pt idx="75">
                  <c:v>463</c:v>
                </c:pt>
                <c:pt idx="76">
                  <c:v>463</c:v>
                </c:pt>
                <c:pt idx="77">
                  <c:v>463</c:v>
                </c:pt>
                <c:pt idx="78">
                  <c:v>463</c:v>
                </c:pt>
                <c:pt idx="79">
                  <c:v>463</c:v>
                </c:pt>
                <c:pt idx="80">
                  <c:v>463</c:v>
                </c:pt>
                <c:pt idx="81">
                  <c:v>463</c:v>
                </c:pt>
                <c:pt idx="82">
                  <c:v>463</c:v>
                </c:pt>
                <c:pt idx="83">
                  <c:v>463</c:v>
                </c:pt>
                <c:pt idx="84">
                  <c:v>463</c:v>
                </c:pt>
                <c:pt idx="85">
                  <c:v>463</c:v>
                </c:pt>
                <c:pt idx="86">
                  <c:v>463</c:v>
                </c:pt>
                <c:pt idx="87">
                  <c:v>463</c:v>
                </c:pt>
                <c:pt idx="88">
                  <c:v>463</c:v>
                </c:pt>
                <c:pt idx="89">
                  <c:v>463</c:v>
                </c:pt>
                <c:pt idx="90">
                  <c:v>463</c:v>
                </c:pt>
                <c:pt idx="91">
                  <c:v>463</c:v>
                </c:pt>
                <c:pt idx="92">
                  <c:v>463</c:v>
                </c:pt>
                <c:pt idx="93">
                  <c:v>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49</c:v>
                </c:pt>
                <c:pt idx="1">
                  <c:v>162</c:v>
                </c:pt>
                <c:pt idx="2">
                  <c:v>169</c:v>
                </c:pt>
                <c:pt idx="3">
                  <c:v>208</c:v>
                </c:pt>
                <c:pt idx="4">
                  <c:v>217</c:v>
                </c:pt>
                <c:pt idx="5">
                  <c:v>201</c:v>
                </c:pt>
                <c:pt idx="6">
                  <c:v>200</c:v>
                </c:pt>
                <c:pt idx="7">
                  <c:v>203</c:v>
                </c:pt>
                <c:pt idx="8">
                  <c:v>210</c:v>
                </c:pt>
                <c:pt idx="9">
                  <c:v>213</c:v>
                </c:pt>
                <c:pt idx="10">
                  <c:v>222</c:v>
                </c:pt>
                <c:pt idx="11">
                  <c:v>228</c:v>
                </c:pt>
                <c:pt idx="12">
                  <c:v>239</c:v>
                </c:pt>
                <c:pt idx="13">
                  <c:v>229</c:v>
                </c:pt>
                <c:pt idx="14">
                  <c:v>231</c:v>
                </c:pt>
                <c:pt idx="15">
                  <c:v>218</c:v>
                </c:pt>
                <c:pt idx="16">
                  <c:v>230</c:v>
                </c:pt>
                <c:pt idx="17">
                  <c:v>261</c:v>
                </c:pt>
                <c:pt idx="18">
                  <c:v>268</c:v>
                </c:pt>
                <c:pt idx="19">
                  <c:v>260</c:v>
                </c:pt>
                <c:pt idx="20">
                  <c:v>272</c:v>
                </c:pt>
                <c:pt idx="21">
                  <c:v>264</c:v>
                </c:pt>
                <c:pt idx="22">
                  <c:v>268</c:v>
                </c:pt>
                <c:pt idx="23">
                  <c:v>274</c:v>
                </c:pt>
                <c:pt idx="24">
                  <c:v>298</c:v>
                </c:pt>
                <c:pt idx="25">
                  <c:v>304</c:v>
                </c:pt>
                <c:pt idx="26">
                  <c:v>281</c:v>
                </c:pt>
                <c:pt idx="27">
                  <c:v>281</c:v>
                </c:pt>
                <c:pt idx="28">
                  <c:v>296</c:v>
                </c:pt>
                <c:pt idx="29">
                  <c:v>274</c:v>
                </c:pt>
                <c:pt idx="30">
                  <c:v>279</c:v>
                </c:pt>
                <c:pt idx="31">
                  <c:v>313</c:v>
                </c:pt>
                <c:pt idx="32">
                  <c:v>301</c:v>
                </c:pt>
                <c:pt idx="33">
                  <c:v>309</c:v>
                </c:pt>
                <c:pt idx="34">
                  <c:v>323</c:v>
                </c:pt>
                <c:pt idx="35">
                  <c:v>309</c:v>
                </c:pt>
                <c:pt idx="36">
                  <c:v>320</c:v>
                </c:pt>
                <c:pt idx="37">
                  <c:v>316</c:v>
                </c:pt>
                <c:pt idx="38">
                  <c:v>328</c:v>
                </c:pt>
                <c:pt idx="39">
                  <c:v>291</c:v>
                </c:pt>
                <c:pt idx="40">
                  <c:v>293</c:v>
                </c:pt>
                <c:pt idx="41">
                  <c:v>319</c:v>
                </c:pt>
                <c:pt idx="42">
                  <c:v>303</c:v>
                </c:pt>
                <c:pt idx="43">
                  <c:v>305</c:v>
                </c:pt>
                <c:pt idx="44">
                  <c:v>319</c:v>
                </c:pt>
                <c:pt idx="45">
                  <c:v>336</c:v>
                </c:pt>
                <c:pt idx="46">
                  <c:v>347</c:v>
                </c:pt>
                <c:pt idx="47">
                  <c:v>330</c:v>
                </c:pt>
                <c:pt idx="48">
                  <c:v>369</c:v>
                </c:pt>
                <c:pt idx="49">
                  <c:v>376</c:v>
                </c:pt>
                <c:pt idx="50">
                  <c:v>360</c:v>
                </c:pt>
                <c:pt idx="51">
                  <c:v>367</c:v>
                </c:pt>
                <c:pt idx="52">
                  <c:v>387</c:v>
                </c:pt>
                <c:pt idx="53">
                  <c:v>359</c:v>
                </c:pt>
                <c:pt idx="54">
                  <c:v>349</c:v>
                </c:pt>
                <c:pt idx="55">
                  <c:v>364</c:v>
                </c:pt>
                <c:pt idx="56">
                  <c:v>370</c:v>
                </c:pt>
                <c:pt idx="57">
                  <c:v>371</c:v>
                </c:pt>
                <c:pt idx="58">
                  <c:v>360</c:v>
                </c:pt>
                <c:pt idx="59">
                  <c:v>380</c:v>
                </c:pt>
                <c:pt idx="60">
                  <c:v>398</c:v>
                </c:pt>
                <c:pt idx="61">
                  <c:v>356</c:v>
                </c:pt>
                <c:pt idx="62">
                  <c:v>324</c:v>
                </c:pt>
                <c:pt idx="63">
                  <c:v>336</c:v>
                </c:pt>
                <c:pt idx="64">
                  <c:v>325</c:v>
                </c:pt>
                <c:pt idx="65">
                  <c:v>326</c:v>
                </c:pt>
                <c:pt idx="66">
                  <c:v>326</c:v>
                </c:pt>
                <c:pt idx="67">
                  <c:v>298</c:v>
                </c:pt>
                <c:pt idx="68">
                  <c:v>290</c:v>
                </c:pt>
                <c:pt idx="69">
                  <c:v>300</c:v>
                </c:pt>
                <c:pt idx="70">
                  <c:v>286</c:v>
                </c:pt>
                <c:pt idx="71">
                  <c:v>260</c:v>
                </c:pt>
                <c:pt idx="72">
                  <c:v>250</c:v>
                </c:pt>
                <c:pt idx="73">
                  <c:v>249</c:v>
                </c:pt>
                <c:pt idx="74">
                  <c:v>234</c:v>
                </c:pt>
                <c:pt idx="75">
                  <c:v>243</c:v>
                </c:pt>
                <c:pt idx="76">
                  <c:v>225</c:v>
                </c:pt>
                <c:pt idx="77">
                  <c:v>226</c:v>
                </c:pt>
                <c:pt idx="78">
                  <c:v>211</c:v>
                </c:pt>
                <c:pt idx="79">
                  <c:v>212</c:v>
                </c:pt>
                <c:pt idx="80">
                  <c:v>225</c:v>
                </c:pt>
                <c:pt idx="81">
                  <c:v>205</c:v>
                </c:pt>
                <c:pt idx="82">
                  <c:v>184</c:v>
                </c:pt>
                <c:pt idx="83">
                  <c:v>170</c:v>
                </c:pt>
                <c:pt idx="84">
                  <c:v>162</c:v>
                </c:pt>
                <c:pt idx="85">
                  <c:v>153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304.03207062015315</c:v>
                </c:pt>
                <c:pt idx="71">
                  <c:v>301.0326583903697</c:v>
                </c:pt>
                <c:pt idx="72">
                  <c:v>297.55178119886341</c:v>
                </c:pt>
                <c:pt idx="73">
                  <c:v>293.47937211374665</c:v>
                </c:pt>
                <c:pt idx="74">
                  <c:v>288.651448646799</c:v>
                </c:pt>
                <c:pt idx="75">
                  <c:v>283.3869977543996</c:v>
                </c:pt>
                <c:pt idx="76">
                  <c:v>277.78155512477713</c:v>
                </c:pt>
                <c:pt idx="77">
                  <c:v>271.7577404237278</c:v>
                </c:pt>
                <c:pt idx="78">
                  <c:v>265.33983488749323</c:v>
                </c:pt>
                <c:pt idx="79">
                  <c:v>258.61262995407492</c:v>
                </c:pt>
                <c:pt idx="80">
                  <c:v>251.64548168402166</c:v>
                </c:pt>
                <c:pt idx="81">
                  <c:v>244.47961833670692</c:v>
                </c:pt>
                <c:pt idx="82">
                  <c:v>237.25860526096508</c:v>
                </c:pt>
                <c:pt idx="83">
                  <c:v>230.03145309712625</c:v>
                </c:pt>
                <c:pt idx="84">
                  <c:v>222.84768483992696</c:v>
                </c:pt>
                <c:pt idx="85">
                  <c:v>215.72380855664682</c:v>
                </c:pt>
                <c:pt idx="86">
                  <c:v>208.6654258851178</c:v>
                </c:pt>
                <c:pt idx="87">
                  <c:v>201.62840221649662</c:v>
                </c:pt>
                <c:pt idx="88">
                  <c:v>194.63629066620899</c:v>
                </c:pt>
                <c:pt idx="89">
                  <c:v>187.76526111473078</c:v>
                </c:pt>
                <c:pt idx="90">
                  <c:v>181.04435930081056</c:v>
                </c:pt>
                <c:pt idx="91">
                  <c:v>174.49953398592106</c:v>
                </c:pt>
                <c:pt idx="92">
                  <c:v>168.12392712686653</c:v>
                </c:pt>
                <c:pt idx="93">
                  <c:v>161.93019937033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305.60544268363805</c:v>
                </c:pt>
                <c:pt idx="71">
                  <c:v>304.7112132516466</c:v>
                </c:pt>
                <c:pt idx="72">
                  <c:v>303.67751148075911</c:v>
                </c:pt>
                <c:pt idx="73">
                  <c:v>302.38675874307808</c:v>
                </c:pt>
                <c:pt idx="74">
                  <c:v>300.67062704099783</c:v>
                </c:pt>
                <c:pt idx="75">
                  <c:v>298.74630260986476</c:v>
                </c:pt>
                <c:pt idx="76">
                  <c:v>296.63534836763745</c:v>
                </c:pt>
                <c:pt idx="77">
                  <c:v>294.23011321715416</c:v>
                </c:pt>
                <c:pt idx="78">
                  <c:v>291.53993412949404</c:v>
                </c:pt>
                <c:pt idx="79">
                  <c:v>288.62354808566727</c:v>
                </c:pt>
                <c:pt idx="80">
                  <c:v>285.49448019612635</c:v>
                </c:pt>
                <c:pt idx="81">
                  <c:v>282.12118997606586</c:v>
                </c:pt>
                <c:pt idx="82">
                  <c:v>278.60346459955991</c:v>
                </c:pt>
                <c:pt idx="83">
                  <c:v>274.98345478804578</c:v>
                </c:pt>
                <c:pt idx="84">
                  <c:v>271.3014301968218</c:v>
                </c:pt>
                <c:pt idx="85">
                  <c:v>267.55950415224549</c:v>
                </c:pt>
                <c:pt idx="86">
                  <c:v>263.75223688023596</c:v>
                </c:pt>
                <c:pt idx="87">
                  <c:v>259.82831834313345</c:v>
                </c:pt>
                <c:pt idx="88">
                  <c:v>255.80751692773464</c:v>
                </c:pt>
                <c:pt idx="89">
                  <c:v>251.76139908200335</c:v>
                </c:pt>
                <c:pt idx="90">
                  <c:v>247.71364013919271</c:v>
                </c:pt>
                <c:pt idx="91">
                  <c:v>243.68297568944678</c:v>
                </c:pt>
                <c:pt idx="92">
                  <c:v>239.66059111370836</c:v>
                </c:pt>
                <c:pt idx="93">
                  <c:v>235.6614124145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308.7521868106079</c:v>
                </c:pt>
                <c:pt idx="71">
                  <c:v>312.1790862322743</c:v>
                </c:pt>
                <c:pt idx="72">
                  <c:v>316.34725521352442</c:v>
                </c:pt>
                <c:pt idx="73">
                  <c:v>321.18464956406365</c:v>
                </c:pt>
                <c:pt idx="74">
                  <c:v>326.54049841654034</c:v>
                </c:pt>
                <c:pt idx="75">
                  <c:v>332.38136677549426</c:v>
                </c:pt>
                <c:pt idx="76">
                  <c:v>338.59000965890823</c:v>
                </c:pt>
                <c:pt idx="77">
                  <c:v>345.06612040633206</c:v>
                </c:pt>
                <c:pt idx="78">
                  <c:v>351.87821702326005</c:v>
                </c:pt>
                <c:pt idx="79">
                  <c:v>359.05886758233225</c:v>
                </c:pt>
                <c:pt idx="80">
                  <c:v>366.50439760026632</c:v>
                </c:pt>
                <c:pt idx="81">
                  <c:v>374.01228842926895</c:v>
                </c:pt>
                <c:pt idx="82">
                  <c:v>381.59813144697097</c:v>
                </c:pt>
                <c:pt idx="83">
                  <c:v>389.31746292710073</c:v>
                </c:pt>
                <c:pt idx="84">
                  <c:v>397.22777845897741</c:v>
                </c:pt>
                <c:pt idx="85">
                  <c:v>405.30980025034523</c:v>
                </c:pt>
                <c:pt idx="86">
                  <c:v>413.51306719444977</c:v>
                </c:pt>
                <c:pt idx="87">
                  <c:v>421.75280804806647</c:v>
                </c:pt>
                <c:pt idx="88">
                  <c:v>430.03876812392258</c:v>
                </c:pt>
                <c:pt idx="89">
                  <c:v>438.44312403166271</c:v>
                </c:pt>
                <c:pt idx="90">
                  <c:v>446.9851520896085</c:v>
                </c:pt>
                <c:pt idx="91">
                  <c:v>455.66392360052612</c:v>
                </c:pt>
                <c:pt idx="92">
                  <c:v>464.44505267832295</c:v>
                </c:pt>
                <c:pt idx="93">
                  <c:v>473.33946275861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309.53820559380767</c:v>
                </c:pt>
                <c:pt idx="71">
                  <c:v>314.06827514978551</c:v>
                </c:pt>
                <c:pt idx="72">
                  <c:v>319.60150844564095</c:v>
                </c:pt>
                <c:pt idx="73">
                  <c:v>326.08711094368323</c:v>
                </c:pt>
                <c:pt idx="74">
                  <c:v>333.38696313932724</c:v>
                </c:pt>
                <c:pt idx="75">
                  <c:v>341.39704633596369</c:v>
                </c:pt>
                <c:pt idx="76">
                  <c:v>349.97053974750861</c:v>
                </c:pt>
                <c:pt idx="77">
                  <c:v>359.02463505987924</c:v>
                </c:pt>
                <c:pt idx="78">
                  <c:v>368.67081923035067</c:v>
                </c:pt>
                <c:pt idx="79">
                  <c:v>378.94309359616898</c:v>
                </c:pt>
                <c:pt idx="80">
                  <c:v>389.70765752053217</c:v>
                </c:pt>
                <c:pt idx="81">
                  <c:v>400.71875943022053</c:v>
                </c:pt>
                <c:pt idx="82">
                  <c:v>411.97798617255324</c:v>
                </c:pt>
                <c:pt idx="83">
                  <c:v>423.55853055024704</c:v>
                </c:pt>
                <c:pt idx="84">
                  <c:v>435.53814330598436</c:v>
                </c:pt>
                <c:pt idx="85">
                  <c:v>447.89667348205938</c:v>
                </c:pt>
                <c:pt idx="86">
                  <c:v>460.57549191690356</c:v>
                </c:pt>
                <c:pt idx="87">
                  <c:v>473.48129354047552</c:v>
                </c:pt>
                <c:pt idx="88">
                  <c:v>486.6295577219114</c:v>
                </c:pt>
                <c:pt idx="89">
                  <c:v>500.10511518643682</c:v>
                </c:pt>
                <c:pt idx="90">
                  <c:v>513.93428985876176</c:v>
                </c:pt>
                <c:pt idx="91">
                  <c:v>528.11823199444029</c:v>
                </c:pt>
                <c:pt idx="92">
                  <c:v>542.62103991716265</c:v>
                </c:pt>
                <c:pt idx="93">
                  <c:v>557.45481114827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5</c:v>
                </c:pt>
                <c:pt idx="1">
                  <c:v>215</c:v>
                </c:pt>
                <c:pt idx="2">
                  <c:v>215</c:v>
                </c:pt>
                <c:pt idx="3">
                  <c:v>215</c:v>
                </c:pt>
                <c:pt idx="4">
                  <c:v>215</c:v>
                </c:pt>
                <c:pt idx="5">
                  <c:v>215</c:v>
                </c:pt>
                <c:pt idx="6">
                  <c:v>215</c:v>
                </c:pt>
                <c:pt idx="7">
                  <c:v>215</c:v>
                </c:pt>
                <c:pt idx="8">
                  <c:v>215</c:v>
                </c:pt>
                <c:pt idx="9">
                  <c:v>215</c:v>
                </c:pt>
                <c:pt idx="10">
                  <c:v>215</c:v>
                </c:pt>
                <c:pt idx="11">
                  <c:v>215</c:v>
                </c:pt>
                <c:pt idx="12">
                  <c:v>215</c:v>
                </c:pt>
                <c:pt idx="13">
                  <c:v>215</c:v>
                </c:pt>
                <c:pt idx="14">
                  <c:v>215</c:v>
                </c:pt>
                <c:pt idx="15">
                  <c:v>215</c:v>
                </c:pt>
                <c:pt idx="16">
                  <c:v>215</c:v>
                </c:pt>
                <c:pt idx="17">
                  <c:v>215</c:v>
                </c:pt>
                <c:pt idx="18">
                  <c:v>215</c:v>
                </c:pt>
                <c:pt idx="19">
                  <c:v>215</c:v>
                </c:pt>
                <c:pt idx="20">
                  <c:v>215</c:v>
                </c:pt>
                <c:pt idx="21">
                  <c:v>215</c:v>
                </c:pt>
                <c:pt idx="22">
                  <c:v>215</c:v>
                </c:pt>
                <c:pt idx="23">
                  <c:v>215</c:v>
                </c:pt>
                <c:pt idx="24">
                  <c:v>215</c:v>
                </c:pt>
                <c:pt idx="25">
                  <c:v>215</c:v>
                </c:pt>
                <c:pt idx="26">
                  <c:v>215</c:v>
                </c:pt>
                <c:pt idx="27">
                  <c:v>215</c:v>
                </c:pt>
                <c:pt idx="28">
                  <c:v>215</c:v>
                </c:pt>
                <c:pt idx="29">
                  <c:v>215</c:v>
                </c:pt>
                <c:pt idx="30">
                  <c:v>215</c:v>
                </c:pt>
                <c:pt idx="31">
                  <c:v>215</c:v>
                </c:pt>
                <c:pt idx="32">
                  <c:v>215</c:v>
                </c:pt>
                <c:pt idx="33">
                  <c:v>215</c:v>
                </c:pt>
                <c:pt idx="34">
                  <c:v>215</c:v>
                </c:pt>
                <c:pt idx="35">
                  <c:v>215</c:v>
                </c:pt>
                <c:pt idx="36">
                  <c:v>215</c:v>
                </c:pt>
                <c:pt idx="37">
                  <c:v>215</c:v>
                </c:pt>
                <c:pt idx="38">
                  <c:v>215</c:v>
                </c:pt>
                <c:pt idx="39">
                  <c:v>215</c:v>
                </c:pt>
                <c:pt idx="40">
                  <c:v>215</c:v>
                </c:pt>
                <c:pt idx="41">
                  <c:v>215</c:v>
                </c:pt>
                <c:pt idx="42">
                  <c:v>215</c:v>
                </c:pt>
                <c:pt idx="43">
                  <c:v>215</c:v>
                </c:pt>
                <c:pt idx="44">
                  <c:v>215</c:v>
                </c:pt>
                <c:pt idx="45">
                  <c:v>215</c:v>
                </c:pt>
                <c:pt idx="46">
                  <c:v>215</c:v>
                </c:pt>
                <c:pt idx="47">
                  <c:v>215</c:v>
                </c:pt>
                <c:pt idx="48">
                  <c:v>215</c:v>
                </c:pt>
                <c:pt idx="49">
                  <c:v>215</c:v>
                </c:pt>
                <c:pt idx="50">
                  <c:v>215</c:v>
                </c:pt>
                <c:pt idx="51">
                  <c:v>215</c:v>
                </c:pt>
                <c:pt idx="52">
                  <c:v>215</c:v>
                </c:pt>
                <c:pt idx="53">
                  <c:v>215</c:v>
                </c:pt>
                <c:pt idx="54">
                  <c:v>215</c:v>
                </c:pt>
                <c:pt idx="55">
                  <c:v>215</c:v>
                </c:pt>
                <c:pt idx="56">
                  <c:v>215</c:v>
                </c:pt>
                <c:pt idx="57">
                  <c:v>215</c:v>
                </c:pt>
                <c:pt idx="58">
                  <c:v>215</c:v>
                </c:pt>
                <c:pt idx="59">
                  <c:v>215</c:v>
                </c:pt>
                <c:pt idx="60">
                  <c:v>215</c:v>
                </c:pt>
                <c:pt idx="61">
                  <c:v>215</c:v>
                </c:pt>
                <c:pt idx="62">
                  <c:v>215</c:v>
                </c:pt>
                <c:pt idx="63">
                  <c:v>215</c:v>
                </c:pt>
                <c:pt idx="64">
                  <c:v>215</c:v>
                </c:pt>
                <c:pt idx="65">
                  <c:v>215</c:v>
                </c:pt>
                <c:pt idx="66">
                  <c:v>215</c:v>
                </c:pt>
                <c:pt idx="67">
                  <c:v>215</c:v>
                </c:pt>
                <c:pt idx="68">
                  <c:v>215</c:v>
                </c:pt>
                <c:pt idx="69">
                  <c:v>215</c:v>
                </c:pt>
                <c:pt idx="70">
                  <c:v>215</c:v>
                </c:pt>
                <c:pt idx="71">
                  <c:v>215</c:v>
                </c:pt>
                <c:pt idx="72">
                  <c:v>215</c:v>
                </c:pt>
                <c:pt idx="73">
                  <c:v>215</c:v>
                </c:pt>
                <c:pt idx="74">
                  <c:v>215</c:v>
                </c:pt>
                <c:pt idx="75">
                  <c:v>215</c:v>
                </c:pt>
                <c:pt idx="76">
                  <c:v>215</c:v>
                </c:pt>
                <c:pt idx="77">
                  <c:v>215</c:v>
                </c:pt>
                <c:pt idx="78">
                  <c:v>215</c:v>
                </c:pt>
                <c:pt idx="79">
                  <c:v>215</c:v>
                </c:pt>
                <c:pt idx="80">
                  <c:v>215</c:v>
                </c:pt>
                <c:pt idx="81">
                  <c:v>215</c:v>
                </c:pt>
                <c:pt idx="82">
                  <c:v>215</c:v>
                </c:pt>
                <c:pt idx="83">
                  <c:v>215</c:v>
                </c:pt>
                <c:pt idx="84">
                  <c:v>215</c:v>
                </c:pt>
                <c:pt idx="85">
                  <c:v>215</c:v>
                </c:pt>
                <c:pt idx="86">
                  <c:v>215</c:v>
                </c:pt>
                <c:pt idx="87">
                  <c:v>215</c:v>
                </c:pt>
                <c:pt idx="88">
                  <c:v>215</c:v>
                </c:pt>
                <c:pt idx="89">
                  <c:v>215</c:v>
                </c:pt>
                <c:pt idx="90">
                  <c:v>215</c:v>
                </c:pt>
                <c:pt idx="91">
                  <c:v>215</c:v>
                </c:pt>
                <c:pt idx="92">
                  <c:v>215</c:v>
                </c:pt>
                <c:pt idx="93">
                  <c:v>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0</c:v>
                </c:pt>
                <c:pt idx="1">
                  <c:v>341</c:v>
                </c:pt>
                <c:pt idx="2">
                  <c:v>338</c:v>
                </c:pt>
                <c:pt idx="3">
                  <c:v>381</c:v>
                </c:pt>
                <c:pt idx="4">
                  <c:v>378</c:v>
                </c:pt>
                <c:pt idx="5">
                  <c:v>409</c:v>
                </c:pt>
                <c:pt idx="6">
                  <c:v>472</c:v>
                </c:pt>
                <c:pt idx="7">
                  <c:v>395</c:v>
                </c:pt>
                <c:pt idx="8">
                  <c:v>365</c:v>
                </c:pt>
                <c:pt idx="9">
                  <c:v>369</c:v>
                </c:pt>
                <c:pt idx="10">
                  <c:v>396</c:v>
                </c:pt>
                <c:pt idx="11">
                  <c:v>422</c:v>
                </c:pt>
                <c:pt idx="12">
                  <c:v>374</c:v>
                </c:pt>
                <c:pt idx="13">
                  <c:v>373</c:v>
                </c:pt>
                <c:pt idx="14">
                  <c:v>357</c:v>
                </c:pt>
                <c:pt idx="15">
                  <c:v>324</c:v>
                </c:pt>
                <c:pt idx="16">
                  <c:v>322</c:v>
                </c:pt>
                <c:pt idx="17">
                  <c:v>440</c:v>
                </c:pt>
                <c:pt idx="18">
                  <c:v>349</c:v>
                </c:pt>
                <c:pt idx="19">
                  <c:v>343</c:v>
                </c:pt>
                <c:pt idx="20">
                  <c:v>345</c:v>
                </c:pt>
                <c:pt idx="21">
                  <c:v>392</c:v>
                </c:pt>
                <c:pt idx="22">
                  <c:v>302</c:v>
                </c:pt>
                <c:pt idx="23">
                  <c:v>323</c:v>
                </c:pt>
                <c:pt idx="24">
                  <c:v>364</c:v>
                </c:pt>
                <c:pt idx="25">
                  <c:v>404</c:v>
                </c:pt>
                <c:pt idx="26">
                  <c:v>404</c:v>
                </c:pt>
                <c:pt idx="27">
                  <c:v>395</c:v>
                </c:pt>
                <c:pt idx="28">
                  <c:v>415</c:v>
                </c:pt>
                <c:pt idx="29">
                  <c:v>372</c:v>
                </c:pt>
                <c:pt idx="30">
                  <c:v>377</c:v>
                </c:pt>
                <c:pt idx="31">
                  <c:v>432</c:v>
                </c:pt>
                <c:pt idx="32">
                  <c:v>413</c:v>
                </c:pt>
                <c:pt idx="33">
                  <c:v>388</c:v>
                </c:pt>
                <c:pt idx="34">
                  <c:v>385</c:v>
                </c:pt>
                <c:pt idx="35">
                  <c:v>379</c:v>
                </c:pt>
                <c:pt idx="36">
                  <c:v>357</c:v>
                </c:pt>
                <c:pt idx="37">
                  <c:v>364</c:v>
                </c:pt>
                <c:pt idx="38">
                  <c:v>407</c:v>
                </c:pt>
                <c:pt idx="39">
                  <c:v>392</c:v>
                </c:pt>
                <c:pt idx="40">
                  <c:v>385</c:v>
                </c:pt>
                <c:pt idx="41">
                  <c:v>393</c:v>
                </c:pt>
                <c:pt idx="42">
                  <c:v>416</c:v>
                </c:pt>
                <c:pt idx="43">
                  <c:v>420</c:v>
                </c:pt>
                <c:pt idx="44">
                  <c:v>441</c:v>
                </c:pt>
                <c:pt idx="45">
                  <c:v>477</c:v>
                </c:pt>
                <c:pt idx="46">
                  <c:v>471</c:v>
                </c:pt>
                <c:pt idx="47">
                  <c:v>480</c:v>
                </c:pt>
                <c:pt idx="48">
                  <c:v>501</c:v>
                </c:pt>
                <c:pt idx="49">
                  <c:v>418</c:v>
                </c:pt>
                <c:pt idx="50">
                  <c:v>404</c:v>
                </c:pt>
                <c:pt idx="51">
                  <c:v>436</c:v>
                </c:pt>
                <c:pt idx="52">
                  <c:v>561</c:v>
                </c:pt>
                <c:pt idx="53">
                  <c:v>561</c:v>
                </c:pt>
                <c:pt idx="54">
                  <c:v>575</c:v>
                </c:pt>
                <c:pt idx="55">
                  <c:v>606</c:v>
                </c:pt>
                <c:pt idx="56">
                  <c:v>588</c:v>
                </c:pt>
                <c:pt idx="57">
                  <c:v>556</c:v>
                </c:pt>
                <c:pt idx="58">
                  <c:v>585</c:v>
                </c:pt>
                <c:pt idx="59">
                  <c:v>664</c:v>
                </c:pt>
                <c:pt idx="60">
                  <c:v>654</c:v>
                </c:pt>
                <c:pt idx="61">
                  <c:v>645</c:v>
                </c:pt>
                <c:pt idx="62">
                  <c:v>649</c:v>
                </c:pt>
                <c:pt idx="63">
                  <c:v>658</c:v>
                </c:pt>
                <c:pt idx="64">
                  <c:v>621</c:v>
                </c:pt>
                <c:pt idx="65">
                  <c:v>641</c:v>
                </c:pt>
                <c:pt idx="66">
                  <c:v>725</c:v>
                </c:pt>
                <c:pt idx="67">
                  <c:v>706</c:v>
                </c:pt>
                <c:pt idx="68">
                  <c:v>703</c:v>
                </c:pt>
                <c:pt idx="69">
                  <c:v>705</c:v>
                </c:pt>
                <c:pt idx="70">
                  <c:v>679</c:v>
                </c:pt>
                <c:pt idx="71">
                  <c:v>638</c:v>
                </c:pt>
                <c:pt idx="72">
                  <c:v>657</c:v>
                </c:pt>
                <c:pt idx="73">
                  <c:v>808</c:v>
                </c:pt>
                <c:pt idx="74">
                  <c:v>824</c:v>
                </c:pt>
                <c:pt idx="75">
                  <c:v>826</c:v>
                </c:pt>
                <c:pt idx="76">
                  <c:v>799</c:v>
                </c:pt>
                <c:pt idx="77">
                  <c:v>708</c:v>
                </c:pt>
                <c:pt idx="78">
                  <c:v>666</c:v>
                </c:pt>
                <c:pt idx="79">
                  <c:v>663</c:v>
                </c:pt>
                <c:pt idx="80">
                  <c:v>828</c:v>
                </c:pt>
                <c:pt idx="81">
                  <c:v>758</c:v>
                </c:pt>
                <c:pt idx="82">
                  <c:v>723</c:v>
                </c:pt>
                <c:pt idx="83">
                  <c:v>694</c:v>
                </c:pt>
                <c:pt idx="84">
                  <c:v>693</c:v>
                </c:pt>
                <c:pt idx="85">
                  <c:v>62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716.10551933439945</c:v>
                </c:pt>
                <c:pt idx="71">
                  <c:v>708.3358657742948</c:v>
                </c:pt>
                <c:pt idx="72">
                  <c:v>699.4937534611538</c:v>
                </c:pt>
                <c:pt idx="73">
                  <c:v>689.3639009278462</c:v>
                </c:pt>
                <c:pt idx="74">
                  <c:v>677.5861983739552</c:v>
                </c:pt>
                <c:pt idx="75">
                  <c:v>664.84557053831134</c:v>
                </c:pt>
                <c:pt idx="76">
                  <c:v>651.33605174861316</c:v>
                </c:pt>
                <c:pt idx="77">
                  <c:v>636.88986891806178</c:v>
                </c:pt>
                <c:pt idx="78">
                  <c:v>621.56434592978462</c:v>
                </c:pt>
                <c:pt idx="79">
                  <c:v>605.56212883684395</c:v>
                </c:pt>
                <c:pt idx="80">
                  <c:v>589.05644783902653</c:v>
                </c:pt>
                <c:pt idx="81">
                  <c:v>572.14534027143668</c:v>
                </c:pt>
                <c:pt idx="82">
                  <c:v>555.13474958244922</c:v>
                </c:pt>
                <c:pt idx="83">
                  <c:v>538.12481401982461</c:v>
                </c:pt>
                <c:pt idx="84">
                  <c:v>521.23854434773978</c:v>
                </c:pt>
                <c:pt idx="85">
                  <c:v>504.51460611908533</c:v>
                </c:pt>
                <c:pt idx="86">
                  <c:v>487.95555077356096</c:v>
                </c:pt>
                <c:pt idx="87">
                  <c:v>471.44958135544965</c:v>
                </c:pt>
                <c:pt idx="88">
                  <c:v>455.06578925714268</c:v>
                </c:pt>
                <c:pt idx="89">
                  <c:v>438.98157792404419</c:v>
                </c:pt>
                <c:pt idx="90">
                  <c:v>423.25891108069953</c:v>
                </c:pt>
                <c:pt idx="91">
                  <c:v>407.9574338335425</c:v>
                </c:pt>
                <c:pt idx="92">
                  <c:v>393.0585806224351</c:v>
                </c:pt>
                <c:pt idx="93">
                  <c:v>378.591032584897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719.76814806701168</c:v>
                </c:pt>
                <c:pt idx="71">
                  <c:v>716.89936415318198</c:v>
                </c:pt>
                <c:pt idx="72">
                  <c:v>713.7557240816418</c:v>
                </c:pt>
                <c:pt idx="73">
                  <c:v>710.10734784364922</c:v>
                </c:pt>
                <c:pt idx="74">
                  <c:v>705.58422106550006</c:v>
                </c:pt>
                <c:pt idx="75">
                  <c:v>700.63561568097748</c:v>
                </c:pt>
                <c:pt idx="76">
                  <c:v>695.28310062469677</c:v>
                </c:pt>
                <c:pt idx="77">
                  <c:v>689.29067077060859</c:v>
                </c:pt>
                <c:pt idx="78">
                  <c:v>682.67743314367374</c:v>
                </c:pt>
                <c:pt idx="79">
                  <c:v>675.58187087457281</c:v>
                </c:pt>
                <c:pt idx="80">
                  <c:v>668.04568758343441</c:v>
                </c:pt>
                <c:pt idx="81">
                  <c:v>659.99544999289787</c:v>
                </c:pt>
                <c:pt idx="82">
                  <c:v>651.63508635456867</c:v>
                </c:pt>
                <c:pt idx="83">
                  <c:v>643.04894742928832</c:v>
                </c:pt>
                <c:pt idx="84">
                  <c:v>634.33829968047712</c:v>
                </c:pt>
                <c:pt idx="85">
                  <c:v>625.50930616158143</c:v>
                </c:pt>
                <c:pt idx="86">
                  <c:v>616.53810694973504</c:v>
                </c:pt>
                <c:pt idx="87">
                  <c:v>607.2957480045801</c:v>
                </c:pt>
                <c:pt idx="88">
                  <c:v>597.843079462677</c:v>
                </c:pt>
                <c:pt idx="89">
                  <c:v>588.34653587078731</c:v>
                </c:pt>
                <c:pt idx="90">
                  <c:v>578.85622109903761</c:v>
                </c:pt>
                <c:pt idx="91">
                  <c:v>569.41541191634099</c:v>
                </c:pt>
                <c:pt idx="92">
                  <c:v>560.00192203836536</c:v>
                </c:pt>
                <c:pt idx="93">
                  <c:v>550.64990165308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727.09340553223581</c:v>
                </c:pt>
                <c:pt idx="71">
                  <c:v>734.28420500324387</c:v>
                </c:pt>
                <c:pt idx="72">
                  <c:v>743.25339768410413</c:v>
                </c:pt>
                <c:pt idx="73">
                  <c:v>753.8829901605734</c:v>
                </c:pt>
                <c:pt idx="74">
                  <c:v>765.84461821179082</c:v>
                </c:pt>
                <c:pt idx="75">
                  <c:v>779.00726561739236</c:v>
                </c:pt>
                <c:pt idx="76">
                  <c:v>793.06942876294295</c:v>
                </c:pt>
                <c:pt idx="77">
                  <c:v>807.81719264357275</c:v>
                </c:pt>
                <c:pt idx="78">
                  <c:v>823.40113189375643</c:v>
                </c:pt>
                <c:pt idx="79">
                  <c:v>839.89222475424526</c:v>
                </c:pt>
                <c:pt idx="80">
                  <c:v>857.0564473546608</c:v>
                </c:pt>
                <c:pt idx="81">
                  <c:v>874.41828233542401</c:v>
                </c:pt>
                <c:pt idx="82">
                  <c:v>891.98522647584014</c:v>
                </c:pt>
                <c:pt idx="83">
                  <c:v>909.87301827685576</c:v>
                </c:pt>
                <c:pt idx="84">
                  <c:v>928.22264649572037</c:v>
                </c:pt>
                <c:pt idx="85">
                  <c:v>946.99257285270164</c:v>
                </c:pt>
                <c:pt idx="86">
                  <c:v>966.05273156642045</c:v>
                </c:pt>
                <c:pt idx="87">
                  <c:v>985.19519497612077</c:v>
                </c:pt>
                <c:pt idx="88">
                  <c:v>1004.4582827338558</c:v>
                </c:pt>
                <c:pt idx="89">
                  <c:v>1024.0090682350633</c:v>
                </c:pt>
                <c:pt idx="90">
                  <c:v>1043.888509709911</c:v>
                </c:pt>
                <c:pt idx="91">
                  <c:v>1064.0949051896957</c:v>
                </c:pt>
                <c:pt idx="92">
                  <c:v>1084.5483817600573</c:v>
                </c:pt>
                <c:pt idx="93">
                  <c:v>1105.2740744764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728.9231666208774</c:v>
                </c:pt>
                <c:pt idx="71">
                  <c:v>738.68214227396879</c:v>
                </c:pt>
                <c:pt idx="72">
                  <c:v>750.82991963801919</c:v>
                </c:pt>
                <c:pt idx="73">
                  <c:v>765.29946672590336</c:v>
                </c:pt>
                <c:pt idx="74">
                  <c:v>781.79214066532586</c:v>
                </c:pt>
                <c:pt idx="75">
                  <c:v>800.01349470508069</c:v>
                </c:pt>
                <c:pt idx="76">
                  <c:v>819.59331061413434</c:v>
                </c:pt>
                <c:pt idx="77">
                  <c:v>840.35976927962247</c:v>
                </c:pt>
                <c:pt idx="78">
                  <c:v>862.56202345737233</c:v>
                </c:pt>
                <c:pt idx="79">
                  <c:v>886.27285010907735</c:v>
                </c:pt>
                <c:pt idx="80">
                  <c:v>911.18743442043728</c:v>
                </c:pt>
                <c:pt idx="81">
                  <c:v>936.72866410390895</c:v>
                </c:pt>
                <c:pt idx="82">
                  <c:v>962.87132199742689</c:v>
                </c:pt>
                <c:pt idx="83">
                  <c:v>989.77232210127579</c:v>
                </c:pt>
                <c:pt idx="84">
                  <c:v>1017.6197608151915</c:v>
                </c:pt>
                <c:pt idx="85">
                  <c:v>1046.3706626515509</c:v>
                </c:pt>
                <c:pt idx="86">
                  <c:v>1075.8756486945144</c:v>
                </c:pt>
                <c:pt idx="87">
                  <c:v>1105.9066570724931</c:v>
                </c:pt>
                <c:pt idx="88">
                  <c:v>1136.5155294932492</c:v>
                </c:pt>
                <c:pt idx="89">
                  <c:v>1167.8985960851489</c:v>
                </c:pt>
                <c:pt idx="90">
                  <c:v>1200.1135062024962</c:v>
                </c:pt>
                <c:pt idx="91">
                  <c:v>1233.1636439153874</c:v>
                </c:pt>
                <c:pt idx="92">
                  <c:v>1266.9660997456622</c:v>
                </c:pt>
                <c:pt idx="93">
                  <c:v>1301.5488441532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9</c:v>
                </c:pt>
                <c:pt idx="1">
                  <c:v>659</c:v>
                </c:pt>
                <c:pt idx="2">
                  <c:v>659</c:v>
                </c:pt>
                <c:pt idx="3">
                  <c:v>659</c:v>
                </c:pt>
                <c:pt idx="4">
                  <c:v>659</c:v>
                </c:pt>
                <c:pt idx="5">
                  <c:v>659</c:v>
                </c:pt>
                <c:pt idx="6">
                  <c:v>659</c:v>
                </c:pt>
                <c:pt idx="7">
                  <c:v>659</c:v>
                </c:pt>
                <c:pt idx="8">
                  <c:v>659</c:v>
                </c:pt>
                <c:pt idx="9">
                  <c:v>659</c:v>
                </c:pt>
                <c:pt idx="10">
                  <c:v>659</c:v>
                </c:pt>
                <c:pt idx="11">
                  <c:v>659</c:v>
                </c:pt>
                <c:pt idx="12">
                  <c:v>659</c:v>
                </c:pt>
                <c:pt idx="13">
                  <c:v>659</c:v>
                </c:pt>
                <c:pt idx="14">
                  <c:v>659</c:v>
                </c:pt>
                <c:pt idx="15">
                  <c:v>659</c:v>
                </c:pt>
                <c:pt idx="16">
                  <c:v>659</c:v>
                </c:pt>
                <c:pt idx="17">
                  <c:v>659</c:v>
                </c:pt>
                <c:pt idx="18">
                  <c:v>659</c:v>
                </c:pt>
                <c:pt idx="19">
                  <c:v>659</c:v>
                </c:pt>
                <c:pt idx="20">
                  <c:v>659</c:v>
                </c:pt>
                <c:pt idx="21">
                  <c:v>659</c:v>
                </c:pt>
                <c:pt idx="22">
                  <c:v>659</c:v>
                </c:pt>
                <c:pt idx="23">
                  <c:v>659</c:v>
                </c:pt>
                <c:pt idx="24">
                  <c:v>659</c:v>
                </c:pt>
                <c:pt idx="25">
                  <c:v>659</c:v>
                </c:pt>
                <c:pt idx="26">
                  <c:v>659</c:v>
                </c:pt>
                <c:pt idx="27">
                  <c:v>659</c:v>
                </c:pt>
                <c:pt idx="28">
                  <c:v>659</c:v>
                </c:pt>
                <c:pt idx="29">
                  <c:v>659</c:v>
                </c:pt>
                <c:pt idx="30">
                  <c:v>659</c:v>
                </c:pt>
                <c:pt idx="31">
                  <c:v>659</c:v>
                </c:pt>
                <c:pt idx="32">
                  <c:v>659</c:v>
                </c:pt>
                <c:pt idx="33">
                  <c:v>659</c:v>
                </c:pt>
                <c:pt idx="34">
                  <c:v>659</c:v>
                </c:pt>
                <c:pt idx="35">
                  <c:v>659</c:v>
                </c:pt>
                <c:pt idx="36">
                  <c:v>659</c:v>
                </c:pt>
                <c:pt idx="37">
                  <c:v>659</c:v>
                </c:pt>
                <c:pt idx="38">
                  <c:v>659</c:v>
                </c:pt>
                <c:pt idx="39">
                  <c:v>659</c:v>
                </c:pt>
                <c:pt idx="40">
                  <c:v>659</c:v>
                </c:pt>
                <c:pt idx="41">
                  <c:v>659</c:v>
                </c:pt>
                <c:pt idx="42">
                  <c:v>659</c:v>
                </c:pt>
                <c:pt idx="43">
                  <c:v>659</c:v>
                </c:pt>
                <c:pt idx="44">
                  <c:v>659</c:v>
                </c:pt>
                <c:pt idx="45">
                  <c:v>659</c:v>
                </c:pt>
                <c:pt idx="46">
                  <c:v>659</c:v>
                </c:pt>
                <c:pt idx="47">
                  <c:v>659</c:v>
                </c:pt>
                <c:pt idx="48">
                  <c:v>659</c:v>
                </c:pt>
                <c:pt idx="49">
                  <c:v>659</c:v>
                </c:pt>
                <c:pt idx="50">
                  <c:v>659</c:v>
                </c:pt>
                <c:pt idx="51">
                  <c:v>659</c:v>
                </c:pt>
                <c:pt idx="52">
                  <c:v>659</c:v>
                </c:pt>
                <c:pt idx="53">
                  <c:v>659</c:v>
                </c:pt>
                <c:pt idx="54">
                  <c:v>659</c:v>
                </c:pt>
                <c:pt idx="55">
                  <c:v>659</c:v>
                </c:pt>
                <c:pt idx="56">
                  <c:v>659</c:v>
                </c:pt>
                <c:pt idx="57">
                  <c:v>659</c:v>
                </c:pt>
                <c:pt idx="58">
                  <c:v>659</c:v>
                </c:pt>
                <c:pt idx="59">
                  <c:v>659</c:v>
                </c:pt>
                <c:pt idx="60">
                  <c:v>659</c:v>
                </c:pt>
                <c:pt idx="61">
                  <c:v>659</c:v>
                </c:pt>
                <c:pt idx="62">
                  <c:v>659</c:v>
                </c:pt>
                <c:pt idx="63">
                  <c:v>659</c:v>
                </c:pt>
                <c:pt idx="64">
                  <c:v>659</c:v>
                </c:pt>
                <c:pt idx="65">
                  <c:v>659</c:v>
                </c:pt>
                <c:pt idx="66">
                  <c:v>659</c:v>
                </c:pt>
                <c:pt idx="67">
                  <c:v>659</c:v>
                </c:pt>
                <c:pt idx="68">
                  <c:v>659</c:v>
                </c:pt>
                <c:pt idx="69">
                  <c:v>659</c:v>
                </c:pt>
                <c:pt idx="70">
                  <c:v>659</c:v>
                </c:pt>
                <c:pt idx="71">
                  <c:v>659</c:v>
                </c:pt>
                <c:pt idx="72">
                  <c:v>659</c:v>
                </c:pt>
                <c:pt idx="73">
                  <c:v>659</c:v>
                </c:pt>
                <c:pt idx="74">
                  <c:v>659</c:v>
                </c:pt>
                <c:pt idx="75">
                  <c:v>659</c:v>
                </c:pt>
                <c:pt idx="76">
                  <c:v>659</c:v>
                </c:pt>
                <c:pt idx="77">
                  <c:v>659</c:v>
                </c:pt>
                <c:pt idx="78">
                  <c:v>659</c:v>
                </c:pt>
                <c:pt idx="79">
                  <c:v>659</c:v>
                </c:pt>
                <c:pt idx="80">
                  <c:v>659</c:v>
                </c:pt>
                <c:pt idx="81">
                  <c:v>659</c:v>
                </c:pt>
                <c:pt idx="82">
                  <c:v>659</c:v>
                </c:pt>
                <c:pt idx="83">
                  <c:v>659</c:v>
                </c:pt>
                <c:pt idx="84">
                  <c:v>659</c:v>
                </c:pt>
                <c:pt idx="85">
                  <c:v>659</c:v>
                </c:pt>
                <c:pt idx="86">
                  <c:v>659</c:v>
                </c:pt>
                <c:pt idx="87">
                  <c:v>659</c:v>
                </c:pt>
                <c:pt idx="88">
                  <c:v>659</c:v>
                </c:pt>
                <c:pt idx="89">
                  <c:v>659</c:v>
                </c:pt>
                <c:pt idx="90">
                  <c:v>659</c:v>
                </c:pt>
                <c:pt idx="91">
                  <c:v>659</c:v>
                </c:pt>
                <c:pt idx="92">
                  <c:v>659</c:v>
                </c:pt>
                <c:pt idx="93">
                  <c:v>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0</c:v>
                </c:pt>
                <c:pt idx="1">
                  <c:v>266</c:v>
                </c:pt>
                <c:pt idx="2">
                  <c:v>280</c:v>
                </c:pt>
                <c:pt idx="3">
                  <c:v>309</c:v>
                </c:pt>
                <c:pt idx="4">
                  <c:v>318</c:v>
                </c:pt>
                <c:pt idx="5">
                  <c:v>308</c:v>
                </c:pt>
                <c:pt idx="6">
                  <c:v>312</c:v>
                </c:pt>
                <c:pt idx="7">
                  <c:v>308</c:v>
                </c:pt>
                <c:pt idx="8">
                  <c:v>288</c:v>
                </c:pt>
                <c:pt idx="9">
                  <c:v>308</c:v>
                </c:pt>
                <c:pt idx="10">
                  <c:v>327</c:v>
                </c:pt>
                <c:pt idx="11">
                  <c:v>314</c:v>
                </c:pt>
                <c:pt idx="12">
                  <c:v>317</c:v>
                </c:pt>
                <c:pt idx="13">
                  <c:v>312</c:v>
                </c:pt>
                <c:pt idx="14">
                  <c:v>298</c:v>
                </c:pt>
                <c:pt idx="15">
                  <c:v>286</c:v>
                </c:pt>
                <c:pt idx="16">
                  <c:v>293</c:v>
                </c:pt>
                <c:pt idx="17">
                  <c:v>311</c:v>
                </c:pt>
                <c:pt idx="18">
                  <c:v>300</c:v>
                </c:pt>
                <c:pt idx="19">
                  <c:v>289</c:v>
                </c:pt>
                <c:pt idx="20">
                  <c:v>281</c:v>
                </c:pt>
                <c:pt idx="21">
                  <c:v>283</c:v>
                </c:pt>
                <c:pt idx="22">
                  <c:v>270</c:v>
                </c:pt>
                <c:pt idx="23">
                  <c:v>277</c:v>
                </c:pt>
                <c:pt idx="24">
                  <c:v>297</c:v>
                </c:pt>
                <c:pt idx="25">
                  <c:v>303</c:v>
                </c:pt>
                <c:pt idx="26">
                  <c:v>301</c:v>
                </c:pt>
                <c:pt idx="27">
                  <c:v>304</c:v>
                </c:pt>
                <c:pt idx="28">
                  <c:v>301</c:v>
                </c:pt>
                <c:pt idx="29">
                  <c:v>283</c:v>
                </c:pt>
                <c:pt idx="30">
                  <c:v>294</c:v>
                </c:pt>
                <c:pt idx="31">
                  <c:v>316</c:v>
                </c:pt>
                <c:pt idx="32">
                  <c:v>317</c:v>
                </c:pt>
                <c:pt idx="33">
                  <c:v>306</c:v>
                </c:pt>
                <c:pt idx="34">
                  <c:v>315</c:v>
                </c:pt>
                <c:pt idx="35">
                  <c:v>304</c:v>
                </c:pt>
                <c:pt idx="36">
                  <c:v>290</c:v>
                </c:pt>
                <c:pt idx="37">
                  <c:v>318</c:v>
                </c:pt>
                <c:pt idx="38">
                  <c:v>346</c:v>
                </c:pt>
                <c:pt idx="39">
                  <c:v>343</c:v>
                </c:pt>
                <c:pt idx="40">
                  <c:v>326</c:v>
                </c:pt>
                <c:pt idx="41">
                  <c:v>322</c:v>
                </c:pt>
                <c:pt idx="42">
                  <c:v>315</c:v>
                </c:pt>
                <c:pt idx="43">
                  <c:v>298</c:v>
                </c:pt>
                <c:pt idx="44">
                  <c:v>318</c:v>
                </c:pt>
                <c:pt idx="45">
                  <c:v>337</c:v>
                </c:pt>
                <c:pt idx="46">
                  <c:v>329</c:v>
                </c:pt>
                <c:pt idx="47">
                  <c:v>328</c:v>
                </c:pt>
                <c:pt idx="48">
                  <c:v>332</c:v>
                </c:pt>
                <c:pt idx="49">
                  <c:v>326</c:v>
                </c:pt>
                <c:pt idx="50">
                  <c:v>303</c:v>
                </c:pt>
                <c:pt idx="51">
                  <c:v>329</c:v>
                </c:pt>
                <c:pt idx="52">
                  <c:v>375</c:v>
                </c:pt>
                <c:pt idx="53">
                  <c:v>356</c:v>
                </c:pt>
                <c:pt idx="54">
                  <c:v>365</c:v>
                </c:pt>
                <c:pt idx="55">
                  <c:v>364</c:v>
                </c:pt>
                <c:pt idx="56">
                  <c:v>370</c:v>
                </c:pt>
                <c:pt idx="57">
                  <c:v>366</c:v>
                </c:pt>
                <c:pt idx="58">
                  <c:v>394</c:v>
                </c:pt>
                <c:pt idx="59">
                  <c:v>421</c:v>
                </c:pt>
                <c:pt idx="60">
                  <c:v>435</c:v>
                </c:pt>
                <c:pt idx="61">
                  <c:v>435</c:v>
                </c:pt>
                <c:pt idx="62">
                  <c:v>425</c:v>
                </c:pt>
                <c:pt idx="63">
                  <c:v>422</c:v>
                </c:pt>
                <c:pt idx="64">
                  <c:v>399</c:v>
                </c:pt>
                <c:pt idx="65">
                  <c:v>425</c:v>
                </c:pt>
                <c:pt idx="66">
                  <c:v>473</c:v>
                </c:pt>
                <c:pt idx="67">
                  <c:v>457</c:v>
                </c:pt>
                <c:pt idx="68">
                  <c:v>448</c:v>
                </c:pt>
                <c:pt idx="69">
                  <c:v>442</c:v>
                </c:pt>
                <c:pt idx="70">
                  <c:v>451</c:v>
                </c:pt>
                <c:pt idx="71">
                  <c:v>433</c:v>
                </c:pt>
                <c:pt idx="72">
                  <c:v>454</c:v>
                </c:pt>
                <c:pt idx="73">
                  <c:v>480</c:v>
                </c:pt>
                <c:pt idx="74">
                  <c:v>469</c:v>
                </c:pt>
                <c:pt idx="75">
                  <c:v>436</c:v>
                </c:pt>
                <c:pt idx="76">
                  <c:v>429</c:v>
                </c:pt>
                <c:pt idx="77">
                  <c:v>426</c:v>
                </c:pt>
                <c:pt idx="78">
                  <c:v>404</c:v>
                </c:pt>
                <c:pt idx="79">
                  <c:v>415</c:v>
                </c:pt>
                <c:pt idx="80">
                  <c:v>418</c:v>
                </c:pt>
                <c:pt idx="81">
                  <c:v>407</c:v>
                </c:pt>
                <c:pt idx="82">
                  <c:v>404</c:v>
                </c:pt>
                <c:pt idx="83">
                  <c:v>382</c:v>
                </c:pt>
                <c:pt idx="84">
                  <c:v>373</c:v>
                </c:pt>
                <c:pt idx="85">
                  <c:v>341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453.23886564990397</c:v>
                </c:pt>
                <c:pt idx="71">
                  <c:v>448.77557491815503</c:v>
                </c:pt>
                <c:pt idx="72">
                  <c:v>443.59382690678365</c:v>
                </c:pt>
                <c:pt idx="73">
                  <c:v>437.52903223224348</c:v>
                </c:pt>
                <c:pt idx="74">
                  <c:v>430.33643164491866</c:v>
                </c:pt>
                <c:pt idx="75">
                  <c:v>422.49232240209011</c:v>
                </c:pt>
                <c:pt idx="76">
                  <c:v>414.13948191396264</c:v>
                </c:pt>
                <c:pt idx="77">
                  <c:v>405.16238795672416</c:v>
                </c:pt>
                <c:pt idx="78">
                  <c:v>395.59723649916583</c:v>
                </c:pt>
                <c:pt idx="79">
                  <c:v>385.57039749118371</c:v>
                </c:pt>
                <c:pt idx="80">
                  <c:v>375.18515056655161</c:v>
                </c:pt>
                <c:pt idx="81">
                  <c:v>364.50294646565987</c:v>
                </c:pt>
                <c:pt idx="82">
                  <c:v>353.73817731711023</c:v>
                </c:pt>
                <c:pt idx="83">
                  <c:v>342.96408230597365</c:v>
                </c:pt>
                <c:pt idx="84">
                  <c:v>332.25441506683967</c:v>
                </c:pt>
                <c:pt idx="85">
                  <c:v>321.6337876634351</c:v>
                </c:pt>
                <c:pt idx="86">
                  <c:v>311.11067327608544</c:v>
                </c:pt>
                <c:pt idx="87">
                  <c:v>300.61936806831767</c:v>
                </c:pt>
                <c:pt idx="88">
                  <c:v>290.19482738730153</c:v>
                </c:pt>
                <c:pt idx="89">
                  <c:v>279.95062531390636</c:v>
                </c:pt>
                <c:pt idx="90">
                  <c:v>269.93013630154758</c:v>
                </c:pt>
                <c:pt idx="91">
                  <c:v>260.17206068687494</c:v>
                </c:pt>
                <c:pt idx="92">
                  <c:v>250.66620253688339</c:v>
                </c:pt>
                <c:pt idx="93">
                  <c:v>241.43144894955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455.58488341790968</c:v>
                </c:pt>
                <c:pt idx="71">
                  <c:v>454.26057798611834</c:v>
                </c:pt>
                <c:pt idx="72">
                  <c:v>452.72773529351082</c:v>
                </c:pt>
                <c:pt idx="73">
                  <c:v>450.81053220924974</c:v>
                </c:pt>
                <c:pt idx="74">
                  <c:v>448.25772756624355</c:v>
                </c:pt>
                <c:pt idx="75">
                  <c:v>445.39381070265034</c:v>
                </c:pt>
                <c:pt idx="76">
                  <c:v>442.25126303880802</c:v>
                </c:pt>
                <c:pt idx="77">
                  <c:v>438.66940061411708</c:v>
                </c:pt>
                <c:pt idx="78">
                  <c:v>434.66217581422001</c:v>
                </c:pt>
                <c:pt idx="79">
                  <c:v>430.31714981548038</c:v>
                </c:pt>
                <c:pt idx="80">
                  <c:v>425.65437198345239</c:v>
                </c:pt>
                <c:pt idx="81">
                  <c:v>420.62681317204306</c:v>
                </c:pt>
                <c:pt idx="82">
                  <c:v>415.38359011621128</c:v>
                </c:pt>
                <c:pt idx="83">
                  <c:v>409.98771124850327</c:v>
                </c:pt>
                <c:pt idx="84">
                  <c:v>404.49913511166511</c:v>
                </c:pt>
                <c:pt idx="85">
                  <c:v>398.92099852554304</c:v>
                </c:pt>
                <c:pt idx="86">
                  <c:v>393.24531923393818</c:v>
                </c:pt>
                <c:pt idx="87">
                  <c:v>387.39569950807658</c:v>
                </c:pt>
                <c:pt idx="88">
                  <c:v>381.40144482569497</c:v>
                </c:pt>
                <c:pt idx="89">
                  <c:v>375.36926810620673</c:v>
                </c:pt>
                <c:pt idx="90">
                  <c:v>369.33452873202731</c:v>
                </c:pt>
                <c:pt idx="91">
                  <c:v>363.32516678178882</c:v>
                </c:pt>
                <c:pt idx="92">
                  <c:v>357.3280581698213</c:v>
                </c:pt>
                <c:pt idx="93">
                  <c:v>351.36546556178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460.27691895392093</c:v>
                </c:pt>
                <c:pt idx="71">
                  <c:v>465.39574058917333</c:v>
                </c:pt>
                <c:pt idx="72">
                  <c:v>471.61924397975025</c:v>
                </c:pt>
                <c:pt idx="73">
                  <c:v>478.83943355434695</c:v>
                </c:pt>
                <c:pt idx="74">
                  <c:v>486.83123819893507</c:v>
                </c:pt>
                <c:pt idx="75">
                  <c:v>495.54541586523345</c:v>
                </c:pt>
                <c:pt idx="76">
                  <c:v>504.8074741588415</c:v>
                </c:pt>
                <c:pt idx="77">
                  <c:v>514.46762276943059</c:v>
                </c:pt>
                <c:pt idx="78">
                  <c:v>524.62813001393965</c:v>
                </c:pt>
                <c:pt idx="79">
                  <c:v>535.33761303540336</c:v>
                </c:pt>
                <c:pt idx="80">
                  <c:v>546.44140104453345</c:v>
                </c:pt>
                <c:pt idx="81">
                  <c:v>557.63757021385391</c:v>
                </c:pt>
                <c:pt idx="82">
                  <c:v>568.94969991069138</c:v>
                </c:pt>
                <c:pt idx="83">
                  <c:v>580.46075482637229</c:v>
                </c:pt>
                <c:pt idx="84">
                  <c:v>592.25638303214191</c:v>
                </c:pt>
                <c:pt idx="85">
                  <c:v>604.30780145032611</c:v>
                </c:pt>
                <c:pt idx="86">
                  <c:v>616.53991371172901</c:v>
                </c:pt>
                <c:pt idx="87">
                  <c:v>628.82644130474409</c:v>
                </c:pt>
                <c:pt idx="88">
                  <c:v>641.18173530809781</c:v>
                </c:pt>
                <c:pt idx="89">
                  <c:v>653.71342743341995</c:v>
                </c:pt>
                <c:pt idx="90">
                  <c:v>666.45030519685781</c:v>
                </c:pt>
                <c:pt idx="91">
                  <c:v>679.39097854670547</c:v>
                </c:pt>
                <c:pt idx="92">
                  <c:v>692.4841735073793</c:v>
                </c:pt>
                <c:pt idx="93">
                  <c:v>705.74618113185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461.44893291944703</c:v>
                </c:pt>
                <c:pt idx="71">
                  <c:v>468.21266395867895</c:v>
                </c:pt>
                <c:pt idx="72">
                  <c:v>476.47157233339038</c:v>
                </c:pt>
                <c:pt idx="73">
                  <c:v>486.14933012315618</c:v>
                </c:pt>
                <c:pt idx="74">
                  <c:v>497.03972724851747</c:v>
                </c:pt>
                <c:pt idx="75">
                  <c:v>508.98826584851088</c:v>
                </c:pt>
                <c:pt idx="76">
                  <c:v>521.77635220143861</c:v>
                </c:pt>
                <c:pt idx="77">
                  <c:v>535.28027169392885</c:v>
                </c:pt>
                <c:pt idx="78">
                  <c:v>549.666379300058</c:v>
                </c:pt>
                <c:pt idx="79">
                  <c:v>564.98544696751833</c:v>
                </c:pt>
                <c:pt idx="80">
                  <c:v>581.03789111829201</c:v>
                </c:pt>
                <c:pt idx="81">
                  <c:v>597.4573353107354</c:v>
                </c:pt>
                <c:pt idx="82">
                  <c:v>614.24647838978763</c:v>
                </c:pt>
                <c:pt idx="83">
                  <c:v>631.51461143667677</c:v>
                </c:pt>
                <c:pt idx="84">
                  <c:v>649.3775850080408</c:v>
                </c:pt>
                <c:pt idx="85">
                  <c:v>667.80530721729929</c:v>
                </c:pt>
                <c:pt idx="86">
                  <c:v>686.71050594180815</c:v>
                </c:pt>
                <c:pt idx="87">
                  <c:v>705.9541811727006</c:v>
                </c:pt>
                <c:pt idx="88">
                  <c:v>725.5592319035926</c:v>
                </c:pt>
                <c:pt idx="89">
                  <c:v>745.65216040628809</c:v>
                </c:pt>
                <c:pt idx="90">
                  <c:v>766.27225943438918</c:v>
                </c:pt>
                <c:pt idx="91">
                  <c:v>787.42123597672185</c:v>
                </c:pt>
                <c:pt idx="92">
                  <c:v>809.04555023625824</c:v>
                </c:pt>
                <c:pt idx="93">
                  <c:v>831.1632427403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6</c:v>
                </c:pt>
                <c:pt idx="1">
                  <c:v>356</c:v>
                </c:pt>
                <c:pt idx="2">
                  <c:v>356</c:v>
                </c:pt>
                <c:pt idx="3">
                  <c:v>356</c:v>
                </c:pt>
                <c:pt idx="4">
                  <c:v>356</c:v>
                </c:pt>
                <c:pt idx="5">
                  <c:v>356</c:v>
                </c:pt>
                <c:pt idx="6">
                  <c:v>356</c:v>
                </c:pt>
                <c:pt idx="7">
                  <c:v>356</c:v>
                </c:pt>
                <c:pt idx="8">
                  <c:v>356</c:v>
                </c:pt>
                <c:pt idx="9">
                  <c:v>356</c:v>
                </c:pt>
                <c:pt idx="10">
                  <c:v>356</c:v>
                </c:pt>
                <c:pt idx="11">
                  <c:v>356</c:v>
                </c:pt>
                <c:pt idx="12">
                  <c:v>356</c:v>
                </c:pt>
                <c:pt idx="13">
                  <c:v>356</c:v>
                </c:pt>
                <c:pt idx="14">
                  <c:v>356</c:v>
                </c:pt>
                <c:pt idx="15">
                  <c:v>356</c:v>
                </c:pt>
                <c:pt idx="16">
                  <c:v>356</c:v>
                </c:pt>
                <c:pt idx="17">
                  <c:v>356</c:v>
                </c:pt>
                <c:pt idx="18">
                  <c:v>356</c:v>
                </c:pt>
                <c:pt idx="19">
                  <c:v>356</c:v>
                </c:pt>
                <c:pt idx="20">
                  <c:v>356</c:v>
                </c:pt>
                <c:pt idx="21">
                  <c:v>356</c:v>
                </c:pt>
                <c:pt idx="22">
                  <c:v>356</c:v>
                </c:pt>
                <c:pt idx="23">
                  <c:v>356</c:v>
                </c:pt>
                <c:pt idx="24">
                  <c:v>356</c:v>
                </c:pt>
                <c:pt idx="25">
                  <c:v>356</c:v>
                </c:pt>
                <c:pt idx="26">
                  <c:v>356</c:v>
                </c:pt>
                <c:pt idx="27">
                  <c:v>356</c:v>
                </c:pt>
                <c:pt idx="28">
                  <c:v>356</c:v>
                </c:pt>
                <c:pt idx="29">
                  <c:v>356</c:v>
                </c:pt>
                <c:pt idx="30">
                  <c:v>356</c:v>
                </c:pt>
                <c:pt idx="31">
                  <c:v>356</c:v>
                </c:pt>
                <c:pt idx="32">
                  <c:v>356</c:v>
                </c:pt>
                <c:pt idx="33">
                  <c:v>356</c:v>
                </c:pt>
                <c:pt idx="34">
                  <c:v>356</c:v>
                </c:pt>
                <c:pt idx="35">
                  <c:v>356</c:v>
                </c:pt>
                <c:pt idx="36">
                  <c:v>356</c:v>
                </c:pt>
                <c:pt idx="37">
                  <c:v>356</c:v>
                </c:pt>
                <c:pt idx="38">
                  <c:v>356</c:v>
                </c:pt>
                <c:pt idx="39">
                  <c:v>356</c:v>
                </c:pt>
                <c:pt idx="40">
                  <c:v>356</c:v>
                </c:pt>
                <c:pt idx="41">
                  <c:v>356</c:v>
                </c:pt>
                <c:pt idx="42">
                  <c:v>356</c:v>
                </c:pt>
                <c:pt idx="43">
                  <c:v>356</c:v>
                </c:pt>
                <c:pt idx="44">
                  <c:v>356</c:v>
                </c:pt>
                <c:pt idx="45">
                  <c:v>356</c:v>
                </c:pt>
                <c:pt idx="46">
                  <c:v>356</c:v>
                </c:pt>
                <c:pt idx="47">
                  <c:v>356</c:v>
                </c:pt>
                <c:pt idx="48">
                  <c:v>356</c:v>
                </c:pt>
                <c:pt idx="49">
                  <c:v>356</c:v>
                </c:pt>
                <c:pt idx="50">
                  <c:v>356</c:v>
                </c:pt>
                <c:pt idx="51">
                  <c:v>356</c:v>
                </c:pt>
                <c:pt idx="52">
                  <c:v>356</c:v>
                </c:pt>
                <c:pt idx="53">
                  <c:v>356</c:v>
                </c:pt>
                <c:pt idx="54">
                  <c:v>356</c:v>
                </c:pt>
                <c:pt idx="55">
                  <c:v>356</c:v>
                </c:pt>
                <c:pt idx="56">
                  <c:v>356</c:v>
                </c:pt>
                <c:pt idx="57">
                  <c:v>356</c:v>
                </c:pt>
                <c:pt idx="58">
                  <c:v>356</c:v>
                </c:pt>
                <c:pt idx="59">
                  <c:v>356</c:v>
                </c:pt>
                <c:pt idx="60">
                  <c:v>356</c:v>
                </c:pt>
                <c:pt idx="61">
                  <c:v>356</c:v>
                </c:pt>
                <c:pt idx="62">
                  <c:v>356</c:v>
                </c:pt>
                <c:pt idx="63">
                  <c:v>356</c:v>
                </c:pt>
                <c:pt idx="64">
                  <c:v>356</c:v>
                </c:pt>
                <c:pt idx="65">
                  <c:v>356</c:v>
                </c:pt>
                <c:pt idx="66">
                  <c:v>356</c:v>
                </c:pt>
                <c:pt idx="67">
                  <c:v>356</c:v>
                </c:pt>
                <c:pt idx="68">
                  <c:v>356</c:v>
                </c:pt>
                <c:pt idx="69">
                  <c:v>356</c:v>
                </c:pt>
                <c:pt idx="70">
                  <c:v>356</c:v>
                </c:pt>
                <c:pt idx="71">
                  <c:v>356</c:v>
                </c:pt>
                <c:pt idx="72">
                  <c:v>356</c:v>
                </c:pt>
                <c:pt idx="73">
                  <c:v>356</c:v>
                </c:pt>
                <c:pt idx="74">
                  <c:v>356</c:v>
                </c:pt>
                <c:pt idx="75">
                  <c:v>356</c:v>
                </c:pt>
                <c:pt idx="76">
                  <c:v>356</c:v>
                </c:pt>
                <c:pt idx="77">
                  <c:v>356</c:v>
                </c:pt>
                <c:pt idx="78">
                  <c:v>356</c:v>
                </c:pt>
                <c:pt idx="79">
                  <c:v>356</c:v>
                </c:pt>
                <c:pt idx="80">
                  <c:v>356</c:v>
                </c:pt>
                <c:pt idx="81">
                  <c:v>356</c:v>
                </c:pt>
                <c:pt idx="82">
                  <c:v>356</c:v>
                </c:pt>
                <c:pt idx="83">
                  <c:v>356</c:v>
                </c:pt>
                <c:pt idx="84">
                  <c:v>356</c:v>
                </c:pt>
                <c:pt idx="85">
                  <c:v>356</c:v>
                </c:pt>
                <c:pt idx="86">
                  <c:v>356</c:v>
                </c:pt>
                <c:pt idx="87">
                  <c:v>356</c:v>
                </c:pt>
                <c:pt idx="88">
                  <c:v>356</c:v>
                </c:pt>
                <c:pt idx="89">
                  <c:v>356</c:v>
                </c:pt>
                <c:pt idx="90">
                  <c:v>356</c:v>
                </c:pt>
                <c:pt idx="91">
                  <c:v>356</c:v>
                </c:pt>
                <c:pt idx="92">
                  <c:v>356</c:v>
                </c:pt>
                <c:pt idx="93">
                  <c:v>3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64</c:v>
                </c:pt>
                <c:pt idx="1">
                  <c:v>381</c:v>
                </c:pt>
                <c:pt idx="2">
                  <c:v>424</c:v>
                </c:pt>
                <c:pt idx="3">
                  <c:v>466</c:v>
                </c:pt>
                <c:pt idx="4">
                  <c:v>484</c:v>
                </c:pt>
                <c:pt idx="5">
                  <c:v>475</c:v>
                </c:pt>
                <c:pt idx="6">
                  <c:v>479</c:v>
                </c:pt>
                <c:pt idx="7">
                  <c:v>465</c:v>
                </c:pt>
                <c:pt idx="8">
                  <c:v>441</c:v>
                </c:pt>
                <c:pt idx="9">
                  <c:v>461</c:v>
                </c:pt>
                <c:pt idx="10">
                  <c:v>501</c:v>
                </c:pt>
                <c:pt idx="11">
                  <c:v>497</c:v>
                </c:pt>
                <c:pt idx="12">
                  <c:v>509</c:v>
                </c:pt>
                <c:pt idx="13">
                  <c:v>531</c:v>
                </c:pt>
                <c:pt idx="14">
                  <c:v>553</c:v>
                </c:pt>
                <c:pt idx="15">
                  <c:v>527</c:v>
                </c:pt>
                <c:pt idx="16">
                  <c:v>534</c:v>
                </c:pt>
                <c:pt idx="17">
                  <c:v>562</c:v>
                </c:pt>
                <c:pt idx="18">
                  <c:v>536</c:v>
                </c:pt>
                <c:pt idx="19">
                  <c:v>532</c:v>
                </c:pt>
                <c:pt idx="20">
                  <c:v>533</c:v>
                </c:pt>
                <c:pt idx="21">
                  <c:v>526</c:v>
                </c:pt>
                <c:pt idx="22">
                  <c:v>499</c:v>
                </c:pt>
                <c:pt idx="23">
                  <c:v>513</c:v>
                </c:pt>
                <c:pt idx="24">
                  <c:v>573</c:v>
                </c:pt>
                <c:pt idx="25">
                  <c:v>556</c:v>
                </c:pt>
                <c:pt idx="26">
                  <c:v>553</c:v>
                </c:pt>
                <c:pt idx="27">
                  <c:v>557</c:v>
                </c:pt>
                <c:pt idx="28">
                  <c:v>541</c:v>
                </c:pt>
                <c:pt idx="29">
                  <c:v>514</c:v>
                </c:pt>
                <c:pt idx="30">
                  <c:v>553</c:v>
                </c:pt>
                <c:pt idx="31">
                  <c:v>592</c:v>
                </c:pt>
                <c:pt idx="32">
                  <c:v>586</c:v>
                </c:pt>
                <c:pt idx="33">
                  <c:v>586</c:v>
                </c:pt>
                <c:pt idx="34">
                  <c:v>587</c:v>
                </c:pt>
                <c:pt idx="35">
                  <c:v>584</c:v>
                </c:pt>
                <c:pt idx="36">
                  <c:v>536</c:v>
                </c:pt>
                <c:pt idx="37">
                  <c:v>546</c:v>
                </c:pt>
                <c:pt idx="38">
                  <c:v>615</c:v>
                </c:pt>
                <c:pt idx="39">
                  <c:v>623</c:v>
                </c:pt>
                <c:pt idx="40">
                  <c:v>596</c:v>
                </c:pt>
                <c:pt idx="41">
                  <c:v>577</c:v>
                </c:pt>
                <c:pt idx="42">
                  <c:v>547</c:v>
                </c:pt>
                <c:pt idx="43">
                  <c:v>499</c:v>
                </c:pt>
                <c:pt idx="44">
                  <c:v>530</c:v>
                </c:pt>
                <c:pt idx="45">
                  <c:v>582</c:v>
                </c:pt>
                <c:pt idx="46">
                  <c:v>584</c:v>
                </c:pt>
                <c:pt idx="47">
                  <c:v>592</c:v>
                </c:pt>
                <c:pt idx="48">
                  <c:v>577</c:v>
                </c:pt>
                <c:pt idx="49">
                  <c:v>569</c:v>
                </c:pt>
                <c:pt idx="50">
                  <c:v>518</c:v>
                </c:pt>
                <c:pt idx="51">
                  <c:v>537</c:v>
                </c:pt>
                <c:pt idx="52">
                  <c:v>569</c:v>
                </c:pt>
                <c:pt idx="53">
                  <c:v>537</c:v>
                </c:pt>
                <c:pt idx="54">
                  <c:v>525</c:v>
                </c:pt>
                <c:pt idx="55">
                  <c:v>545</c:v>
                </c:pt>
                <c:pt idx="56">
                  <c:v>533</c:v>
                </c:pt>
                <c:pt idx="57">
                  <c:v>509</c:v>
                </c:pt>
                <c:pt idx="58">
                  <c:v>544</c:v>
                </c:pt>
                <c:pt idx="59">
                  <c:v>584</c:v>
                </c:pt>
                <c:pt idx="60">
                  <c:v>574</c:v>
                </c:pt>
                <c:pt idx="61">
                  <c:v>559</c:v>
                </c:pt>
                <c:pt idx="62">
                  <c:v>551</c:v>
                </c:pt>
                <c:pt idx="63">
                  <c:v>543</c:v>
                </c:pt>
                <c:pt idx="64">
                  <c:v>498</c:v>
                </c:pt>
                <c:pt idx="65">
                  <c:v>513</c:v>
                </c:pt>
                <c:pt idx="66">
                  <c:v>527</c:v>
                </c:pt>
                <c:pt idx="67">
                  <c:v>516</c:v>
                </c:pt>
                <c:pt idx="68">
                  <c:v>502</c:v>
                </c:pt>
                <c:pt idx="69">
                  <c:v>495</c:v>
                </c:pt>
                <c:pt idx="70">
                  <c:v>488</c:v>
                </c:pt>
                <c:pt idx="71">
                  <c:v>444</c:v>
                </c:pt>
                <c:pt idx="72">
                  <c:v>461</c:v>
                </c:pt>
                <c:pt idx="73">
                  <c:v>495</c:v>
                </c:pt>
                <c:pt idx="74">
                  <c:v>464</c:v>
                </c:pt>
                <c:pt idx="75">
                  <c:v>448</c:v>
                </c:pt>
                <c:pt idx="76">
                  <c:v>433</c:v>
                </c:pt>
                <c:pt idx="77">
                  <c:v>413</c:v>
                </c:pt>
                <c:pt idx="78">
                  <c:v>386</c:v>
                </c:pt>
                <c:pt idx="79">
                  <c:v>394</c:v>
                </c:pt>
                <c:pt idx="80">
                  <c:v>417</c:v>
                </c:pt>
                <c:pt idx="81">
                  <c:v>379</c:v>
                </c:pt>
                <c:pt idx="82">
                  <c:v>371</c:v>
                </c:pt>
                <c:pt idx="83">
                  <c:v>354</c:v>
                </c:pt>
                <c:pt idx="84">
                  <c:v>343</c:v>
                </c:pt>
                <c:pt idx="85">
                  <c:v>32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8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70">
                  <c:v>510.99794164757981</c:v>
                </c:pt>
                <c:pt idx="71">
                  <c:v>505.38724987329988</c:v>
                </c:pt>
                <c:pt idx="72">
                  <c:v>499.01707538073083</c:v>
                </c:pt>
                <c:pt idx="73">
                  <c:v>491.73794082455225</c:v>
                </c:pt>
                <c:pt idx="74">
                  <c:v>483.2953414998089</c:v>
                </c:pt>
                <c:pt idx="75">
                  <c:v>474.17176790665508</c:v>
                </c:pt>
                <c:pt idx="76">
                  <c:v>464.50275893442671</c:v>
                </c:pt>
                <c:pt idx="77">
                  <c:v>454.16996022283763</c:v>
                </c:pt>
                <c:pt idx="78">
                  <c:v>443.21428941043689</c:v>
                </c:pt>
                <c:pt idx="79">
                  <c:v>431.78062673380009</c:v>
                </c:pt>
                <c:pt idx="80">
                  <c:v>419.9935158670657</c:v>
                </c:pt>
                <c:pt idx="81">
                  <c:v>407.92300182852699</c:v>
                </c:pt>
                <c:pt idx="82">
                  <c:v>395.7843647337441</c:v>
                </c:pt>
                <c:pt idx="83">
                  <c:v>383.64761943452311</c:v>
                </c:pt>
                <c:pt idx="84">
                  <c:v>371.60114374382385</c:v>
                </c:pt>
                <c:pt idx="85">
                  <c:v>359.672508151942</c:v>
                </c:pt>
                <c:pt idx="86">
                  <c:v>347.86253045147959</c:v>
                </c:pt>
                <c:pt idx="87">
                  <c:v>336.09069551351951</c:v>
                </c:pt>
                <c:pt idx="88">
                  <c:v>324.40758851153305</c:v>
                </c:pt>
                <c:pt idx="89">
                  <c:v>312.93961198042939</c:v>
                </c:pt>
                <c:pt idx="90">
                  <c:v>301.73037418906955</c:v>
                </c:pt>
                <c:pt idx="91">
                  <c:v>290.82229777760131</c:v>
                </c:pt>
                <c:pt idx="92">
                  <c:v>280.20190742538847</c:v>
                </c:pt>
                <c:pt idx="93">
                  <c:v>269.88956203753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9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70">
                  <c:v>513.60744319176536</c:v>
                </c:pt>
                <c:pt idx="71">
                  <c:v>511.48848209674691</c:v>
                </c:pt>
                <c:pt idx="72">
                  <c:v>509.17844510508746</c:v>
                </c:pt>
                <c:pt idx="73">
                  <c:v>506.51772923241651</c:v>
                </c:pt>
                <c:pt idx="74">
                  <c:v>503.2447932372562</c:v>
                </c:pt>
                <c:pt idx="75">
                  <c:v>499.67435938194558</c:v>
                </c:pt>
                <c:pt idx="76">
                  <c:v>495.8190653847937</c:v>
                </c:pt>
                <c:pt idx="77">
                  <c:v>491.51215689619039</c:v>
                </c:pt>
                <c:pt idx="78">
                  <c:v>486.76699643756831</c:v>
                </c:pt>
                <c:pt idx="79">
                  <c:v>481.68241552150965</c:v>
                </c:pt>
                <c:pt idx="80">
                  <c:v>476.28910089395356</c:v>
                </c:pt>
                <c:pt idx="81">
                  <c:v>470.53473276240356</c:v>
                </c:pt>
                <c:pt idx="82">
                  <c:v>464.56189881865117</c:v>
                </c:pt>
                <c:pt idx="83">
                  <c:v>458.42938316930326</c:v>
                </c:pt>
                <c:pt idx="84">
                  <c:v>452.2100521223914</c:v>
                </c:pt>
                <c:pt idx="85">
                  <c:v>445.90841520754418</c:v>
                </c:pt>
                <c:pt idx="86">
                  <c:v>439.50640547141563</c:v>
                </c:pt>
                <c:pt idx="87">
                  <c:v>432.91124069104012</c:v>
                </c:pt>
                <c:pt idx="88">
                  <c:v>426.16768868423799</c:v>
                </c:pt>
                <c:pt idx="89">
                  <c:v>419.39431292158383</c:v>
                </c:pt>
                <c:pt idx="90">
                  <c:v>412.62633311385883</c:v>
                </c:pt>
                <c:pt idx="91">
                  <c:v>405.8945503430416</c:v>
                </c:pt>
                <c:pt idx="92">
                  <c:v>399.18299869039896</c:v>
                </c:pt>
                <c:pt idx="93">
                  <c:v>392.51595222404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1,1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70">
                  <c:v>518.82644628013634</c:v>
                </c:pt>
                <c:pt idx="71">
                  <c:v>523.8746519110432</c:v>
                </c:pt>
                <c:pt idx="72">
                  <c:v>530.19493823591517</c:v>
                </c:pt>
                <c:pt idx="73">
                  <c:v>537.70797911706518</c:v>
                </c:pt>
                <c:pt idx="74">
                  <c:v>546.18198195645118</c:v>
                </c:pt>
                <c:pt idx="75">
                  <c:v>555.51853129430265</c:v>
                </c:pt>
                <c:pt idx="76">
                  <c:v>565.50009173037483</c:v>
                </c:pt>
                <c:pt idx="77">
                  <c:v>575.97612346061601</c:v>
                </c:pt>
                <c:pt idx="78">
                  <c:v>587.0530547431789</c:v>
                </c:pt>
                <c:pt idx="79">
                  <c:v>598.78099408988351</c:v>
                </c:pt>
                <c:pt idx="80">
                  <c:v>610.99390501835205</c:v>
                </c:pt>
                <c:pt idx="81">
                  <c:v>623.35260842652269</c:v>
                </c:pt>
                <c:pt idx="82">
                  <c:v>635.85969977532363</c:v>
                </c:pt>
                <c:pt idx="83">
                  <c:v>648.59634760723748</c:v>
                </c:pt>
                <c:pt idx="84">
                  <c:v>661.66368303665786</c:v>
                </c:pt>
                <c:pt idx="85">
                  <c:v>675.03242969525434</c:v>
                </c:pt>
                <c:pt idx="86">
                  <c:v>688.60871886192263</c:v>
                </c:pt>
                <c:pt idx="87">
                  <c:v>702.24339927510448</c:v>
                </c:pt>
                <c:pt idx="88">
                  <c:v>715.96526300292976</c:v>
                </c:pt>
                <c:pt idx="89">
                  <c:v>729.89325415917097</c:v>
                </c:pt>
                <c:pt idx="90">
                  <c:v>744.05618086866787</c:v>
                </c:pt>
                <c:pt idx="91">
                  <c:v>758.45287438708044</c:v>
                </c:pt>
                <c:pt idx="92">
                  <c:v>773.02644444974419</c:v>
                </c:pt>
                <c:pt idx="93">
                  <c:v>787.79477097219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1,15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70">
                  <c:v>520.13009039338931</c:v>
                </c:pt>
                <c:pt idx="71">
                  <c:v>527.00804816869368</c:v>
                </c:pt>
                <c:pt idx="72">
                  <c:v>535.59305387576717</c:v>
                </c:pt>
                <c:pt idx="73">
                  <c:v>545.8422322143515</c:v>
                </c:pt>
                <c:pt idx="74">
                  <c:v>557.54499184638837</c:v>
                </c:pt>
                <c:pt idx="75">
                  <c:v>570.48656239805268</c:v>
                </c:pt>
                <c:pt idx="76">
                  <c:v>584.40046440145409</c:v>
                </c:pt>
                <c:pt idx="77">
                  <c:v>599.16627981628471</c:v>
                </c:pt>
                <c:pt idx="78">
                  <c:v>614.96053242376399</c:v>
                </c:pt>
                <c:pt idx="79">
                  <c:v>631.83446564835253</c:v>
                </c:pt>
                <c:pt idx="80">
                  <c:v>649.57154380985253</c:v>
                </c:pt>
                <c:pt idx="81">
                  <c:v>667.76011386168966</c:v>
                </c:pt>
                <c:pt idx="82">
                  <c:v>686.37945289127947</c:v>
                </c:pt>
                <c:pt idx="83">
                  <c:v>705.54007259239052</c:v>
                </c:pt>
                <c:pt idx="84">
                  <c:v>725.37666251596352</c:v>
                </c:pt>
                <c:pt idx="85">
                  <c:v>745.85897910078438</c:v>
                </c:pt>
                <c:pt idx="86">
                  <c:v>766.87936516452942</c:v>
                </c:pt>
                <c:pt idx="87">
                  <c:v>788.27429889307302</c:v>
                </c:pt>
                <c:pt idx="88">
                  <c:v>810.08222294502036</c:v>
                </c:pt>
                <c:pt idx="89">
                  <c:v>832.44290676134392</c:v>
                </c:pt>
                <c:pt idx="90">
                  <c:v>855.39707752306185</c:v>
                </c:pt>
                <c:pt idx="91">
                  <c:v>878.9472136200385</c:v>
                </c:pt>
                <c:pt idx="92">
                  <c:v>903.03430824808243</c:v>
                </c:pt>
                <c:pt idx="93">
                  <c:v>927.6782712051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197</c:v>
                </c:pt>
                <c:pt idx="1">
                  <c:v>44198</c:v>
                </c:pt>
                <c:pt idx="2">
                  <c:v>44199</c:v>
                </c:pt>
                <c:pt idx="3">
                  <c:v>44200</c:v>
                </c:pt>
                <c:pt idx="4">
                  <c:v>44201</c:v>
                </c:pt>
                <c:pt idx="5">
                  <c:v>44202</c:v>
                </c:pt>
                <c:pt idx="6">
                  <c:v>44203</c:v>
                </c:pt>
                <c:pt idx="7">
                  <c:v>44204</c:v>
                </c:pt>
                <c:pt idx="8">
                  <c:v>44205</c:v>
                </c:pt>
                <c:pt idx="9">
                  <c:v>44206</c:v>
                </c:pt>
                <c:pt idx="10">
                  <c:v>44207</c:v>
                </c:pt>
                <c:pt idx="11">
                  <c:v>44208</c:v>
                </c:pt>
                <c:pt idx="12">
                  <c:v>44209</c:v>
                </c:pt>
                <c:pt idx="13">
                  <c:v>44210</c:v>
                </c:pt>
                <c:pt idx="14">
                  <c:v>44211</c:v>
                </c:pt>
                <c:pt idx="15">
                  <c:v>44212</c:v>
                </c:pt>
                <c:pt idx="16">
                  <c:v>44213</c:v>
                </c:pt>
                <c:pt idx="17">
                  <c:v>44214</c:v>
                </c:pt>
                <c:pt idx="18">
                  <c:v>44215</c:v>
                </c:pt>
                <c:pt idx="19">
                  <c:v>44216</c:v>
                </c:pt>
                <c:pt idx="20">
                  <c:v>44217</c:v>
                </c:pt>
                <c:pt idx="21">
                  <c:v>44218</c:v>
                </c:pt>
                <c:pt idx="22">
                  <c:v>44219</c:v>
                </c:pt>
                <c:pt idx="23">
                  <c:v>44220</c:v>
                </c:pt>
                <c:pt idx="24">
                  <c:v>44221</c:v>
                </c:pt>
                <c:pt idx="25">
                  <c:v>44222</c:v>
                </c:pt>
                <c:pt idx="26">
                  <c:v>44223</c:v>
                </c:pt>
                <c:pt idx="27">
                  <c:v>44224</c:v>
                </c:pt>
                <c:pt idx="28">
                  <c:v>44225</c:v>
                </c:pt>
                <c:pt idx="29">
                  <c:v>44226</c:v>
                </c:pt>
                <c:pt idx="30">
                  <c:v>44227</c:v>
                </c:pt>
                <c:pt idx="31">
                  <c:v>44228</c:v>
                </c:pt>
                <c:pt idx="32">
                  <c:v>44229</c:v>
                </c:pt>
                <c:pt idx="33">
                  <c:v>44230</c:v>
                </c:pt>
                <c:pt idx="34">
                  <c:v>44231</c:v>
                </c:pt>
                <c:pt idx="35">
                  <c:v>44232</c:v>
                </c:pt>
                <c:pt idx="36">
                  <c:v>44233</c:v>
                </c:pt>
                <c:pt idx="37">
                  <c:v>44234</c:v>
                </c:pt>
                <c:pt idx="38">
                  <c:v>44235</c:v>
                </c:pt>
                <c:pt idx="39">
                  <c:v>44236</c:v>
                </c:pt>
                <c:pt idx="40">
                  <c:v>44237</c:v>
                </c:pt>
                <c:pt idx="41">
                  <c:v>44238</c:v>
                </c:pt>
                <c:pt idx="42">
                  <c:v>44239</c:v>
                </c:pt>
                <c:pt idx="43">
                  <c:v>44240</c:v>
                </c:pt>
                <c:pt idx="44">
                  <c:v>44241</c:v>
                </c:pt>
                <c:pt idx="45">
                  <c:v>44242</c:v>
                </c:pt>
                <c:pt idx="46">
                  <c:v>44243</c:v>
                </c:pt>
                <c:pt idx="47">
                  <c:v>44244</c:v>
                </c:pt>
                <c:pt idx="48">
                  <c:v>44245</c:v>
                </c:pt>
                <c:pt idx="49">
                  <c:v>44246</c:v>
                </c:pt>
                <c:pt idx="50">
                  <c:v>44247</c:v>
                </c:pt>
                <c:pt idx="51">
                  <c:v>44248</c:v>
                </c:pt>
                <c:pt idx="52">
                  <c:v>44249</c:v>
                </c:pt>
                <c:pt idx="53">
                  <c:v>44250</c:v>
                </c:pt>
                <c:pt idx="54">
                  <c:v>44251</c:v>
                </c:pt>
                <c:pt idx="55">
                  <c:v>44252</c:v>
                </c:pt>
                <c:pt idx="56">
                  <c:v>44253</c:v>
                </c:pt>
                <c:pt idx="57">
                  <c:v>44254</c:v>
                </c:pt>
                <c:pt idx="58">
                  <c:v>44255</c:v>
                </c:pt>
                <c:pt idx="59">
                  <c:v>44256</c:v>
                </c:pt>
                <c:pt idx="60">
                  <c:v>44257</c:v>
                </c:pt>
                <c:pt idx="61">
                  <c:v>44258</c:v>
                </c:pt>
                <c:pt idx="62">
                  <c:v>44259</c:v>
                </c:pt>
                <c:pt idx="63">
                  <c:v>44260</c:v>
                </c:pt>
                <c:pt idx="64">
                  <c:v>44261</c:v>
                </c:pt>
                <c:pt idx="65">
                  <c:v>44262</c:v>
                </c:pt>
                <c:pt idx="66">
                  <c:v>44263</c:v>
                </c:pt>
                <c:pt idx="67">
                  <c:v>44264</c:v>
                </c:pt>
                <c:pt idx="68">
                  <c:v>44265</c:v>
                </c:pt>
                <c:pt idx="69">
                  <c:v>44266</c:v>
                </c:pt>
                <c:pt idx="70">
                  <c:v>44267</c:v>
                </c:pt>
                <c:pt idx="71">
                  <c:v>44268</c:v>
                </c:pt>
                <c:pt idx="72">
                  <c:v>44269</c:v>
                </c:pt>
                <c:pt idx="73">
                  <c:v>44270</c:v>
                </c:pt>
                <c:pt idx="74">
                  <c:v>44271</c:v>
                </c:pt>
                <c:pt idx="75">
                  <c:v>44272</c:v>
                </c:pt>
                <c:pt idx="76">
                  <c:v>44273</c:v>
                </c:pt>
                <c:pt idx="77">
                  <c:v>44274</c:v>
                </c:pt>
                <c:pt idx="78">
                  <c:v>44275</c:v>
                </c:pt>
                <c:pt idx="79">
                  <c:v>44276</c:v>
                </c:pt>
                <c:pt idx="80">
                  <c:v>44277</c:v>
                </c:pt>
                <c:pt idx="81">
                  <c:v>44278</c:v>
                </c:pt>
                <c:pt idx="82">
                  <c:v>44279</c:v>
                </c:pt>
                <c:pt idx="83">
                  <c:v>44280</c:v>
                </c:pt>
                <c:pt idx="84">
                  <c:v>44281</c:v>
                </c:pt>
                <c:pt idx="85">
                  <c:v>44282</c:v>
                </c:pt>
                <c:pt idx="86">
                  <c:v>44283</c:v>
                </c:pt>
                <c:pt idx="87">
                  <c:v>44284</c:v>
                </c:pt>
                <c:pt idx="88">
                  <c:v>44285</c:v>
                </c:pt>
                <c:pt idx="89">
                  <c:v>44286</c:v>
                </c:pt>
                <c:pt idx="90">
                  <c:v>44287</c:v>
                </c:pt>
                <c:pt idx="91">
                  <c:v>44288</c:v>
                </c:pt>
                <c:pt idx="92">
                  <c:v>44289</c:v>
                </c:pt>
                <c:pt idx="93">
                  <c:v>4429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49</c:v>
                </c:pt>
                <c:pt idx="1">
                  <c:v>449</c:v>
                </c:pt>
                <c:pt idx="2">
                  <c:v>449</c:v>
                </c:pt>
                <c:pt idx="3">
                  <c:v>449</c:v>
                </c:pt>
                <c:pt idx="4">
                  <c:v>449</c:v>
                </c:pt>
                <c:pt idx="5">
                  <c:v>449</c:v>
                </c:pt>
                <c:pt idx="6">
                  <c:v>449</c:v>
                </c:pt>
                <c:pt idx="7">
                  <c:v>449</c:v>
                </c:pt>
                <c:pt idx="8">
                  <c:v>449</c:v>
                </c:pt>
                <c:pt idx="9">
                  <c:v>449</c:v>
                </c:pt>
                <c:pt idx="10">
                  <c:v>449</c:v>
                </c:pt>
                <c:pt idx="11">
                  <c:v>449</c:v>
                </c:pt>
                <c:pt idx="12">
                  <c:v>449</c:v>
                </c:pt>
                <c:pt idx="13">
                  <c:v>449</c:v>
                </c:pt>
                <c:pt idx="14">
                  <c:v>449</c:v>
                </c:pt>
                <c:pt idx="15">
                  <c:v>449</c:v>
                </c:pt>
                <c:pt idx="16">
                  <c:v>449</c:v>
                </c:pt>
                <c:pt idx="17">
                  <c:v>449</c:v>
                </c:pt>
                <c:pt idx="18">
                  <c:v>449</c:v>
                </c:pt>
                <c:pt idx="19">
                  <c:v>449</c:v>
                </c:pt>
                <c:pt idx="20">
                  <c:v>449</c:v>
                </c:pt>
                <c:pt idx="21">
                  <c:v>449</c:v>
                </c:pt>
                <c:pt idx="22">
                  <c:v>449</c:v>
                </c:pt>
                <c:pt idx="23">
                  <c:v>449</c:v>
                </c:pt>
                <c:pt idx="24">
                  <c:v>449</c:v>
                </c:pt>
                <c:pt idx="25">
                  <c:v>449</c:v>
                </c:pt>
                <c:pt idx="26">
                  <c:v>449</c:v>
                </c:pt>
                <c:pt idx="27">
                  <c:v>449</c:v>
                </c:pt>
                <c:pt idx="28">
                  <c:v>449</c:v>
                </c:pt>
                <c:pt idx="29">
                  <c:v>449</c:v>
                </c:pt>
                <c:pt idx="30">
                  <c:v>449</c:v>
                </c:pt>
                <c:pt idx="31">
                  <c:v>449</c:v>
                </c:pt>
                <c:pt idx="32">
                  <c:v>449</c:v>
                </c:pt>
                <c:pt idx="33">
                  <c:v>449</c:v>
                </c:pt>
                <c:pt idx="34">
                  <c:v>449</c:v>
                </c:pt>
                <c:pt idx="35">
                  <c:v>449</c:v>
                </c:pt>
                <c:pt idx="36">
                  <c:v>449</c:v>
                </c:pt>
                <c:pt idx="37">
                  <c:v>449</c:v>
                </c:pt>
                <c:pt idx="38">
                  <c:v>449</c:v>
                </c:pt>
                <c:pt idx="39">
                  <c:v>449</c:v>
                </c:pt>
                <c:pt idx="40">
                  <c:v>449</c:v>
                </c:pt>
                <c:pt idx="41">
                  <c:v>449</c:v>
                </c:pt>
                <c:pt idx="42">
                  <c:v>449</c:v>
                </c:pt>
                <c:pt idx="43">
                  <c:v>449</c:v>
                </c:pt>
                <c:pt idx="44">
                  <c:v>449</c:v>
                </c:pt>
                <c:pt idx="45">
                  <c:v>449</c:v>
                </c:pt>
                <c:pt idx="46">
                  <c:v>449</c:v>
                </c:pt>
                <c:pt idx="47">
                  <c:v>449</c:v>
                </c:pt>
                <c:pt idx="48">
                  <c:v>449</c:v>
                </c:pt>
                <c:pt idx="49">
                  <c:v>449</c:v>
                </c:pt>
                <c:pt idx="50">
                  <c:v>449</c:v>
                </c:pt>
                <c:pt idx="51">
                  <c:v>449</c:v>
                </c:pt>
                <c:pt idx="52">
                  <c:v>449</c:v>
                </c:pt>
                <c:pt idx="53">
                  <c:v>449</c:v>
                </c:pt>
                <c:pt idx="54">
                  <c:v>449</c:v>
                </c:pt>
                <c:pt idx="55">
                  <c:v>449</c:v>
                </c:pt>
                <c:pt idx="56">
                  <c:v>449</c:v>
                </c:pt>
                <c:pt idx="57">
                  <c:v>449</c:v>
                </c:pt>
                <c:pt idx="58">
                  <c:v>449</c:v>
                </c:pt>
                <c:pt idx="59">
                  <c:v>449</c:v>
                </c:pt>
                <c:pt idx="60">
                  <c:v>449</c:v>
                </c:pt>
                <c:pt idx="61">
                  <c:v>449</c:v>
                </c:pt>
                <c:pt idx="62">
                  <c:v>449</c:v>
                </c:pt>
                <c:pt idx="63">
                  <c:v>449</c:v>
                </c:pt>
                <c:pt idx="64">
                  <c:v>449</c:v>
                </c:pt>
                <c:pt idx="65">
                  <c:v>449</c:v>
                </c:pt>
                <c:pt idx="66">
                  <c:v>449</c:v>
                </c:pt>
                <c:pt idx="67">
                  <c:v>449</c:v>
                </c:pt>
                <c:pt idx="68">
                  <c:v>449</c:v>
                </c:pt>
                <c:pt idx="69">
                  <c:v>449</c:v>
                </c:pt>
                <c:pt idx="70">
                  <c:v>449</c:v>
                </c:pt>
                <c:pt idx="71">
                  <c:v>449</c:v>
                </c:pt>
                <c:pt idx="72">
                  <c:v>449</c:v>
                </c:pt>
                <c:pt idx="73">
                  <c:v>449</c:v>
                </c:pt>
                <c:pt idx="74">
                  <c:v>449</c:v>
                </c:pt>
                <c:pt idx="75">
                  <c:v>449</c:v>
                </c:pt>
                <c:pt idx="76">
                  <c:v>449</c:v>
                </c:pt>
                <c:pt idx="77">
                  <c:v>449</c:v>
                </c:pt>
                <c:pt idx="78">
                  <c:v>449</c:v>
                </c:pt>
                <c:pt idx="79">
                  <c:v>449</c:v>
                </c:pt>
                <c:pt idx="80">
                  <c:v>449</c:v>
                </c:pt>
                <c:pt idx="81">
                  <c:v>449</c:v>
                </c:pt>
                <c:pt idx="82">
                  <c:v>449</c:v>
                </c:pt>
                <c:pt idx="83">
                  <c:v>449</c:v>
                </c:pt>
                <c:pt idx="84">
                  <c:v>449</c:v>
                </c:pt>
                <c:pt idx="85">
                  <c:v>449</c:v>
                </c:pt>
                <c:pt idx="86">
                  <c:v>449</c:v>
                </c:pt>
                <c:pt idx="87">
                  <c:v>449</c:v>
                </c:pt>
                <c:pt idx="88">
                  <c:v>449</c:v>
                </c:pt>
                <c:pt idx="89">
                  <c:v>449</c:v>
                </c:pt>
                <c:pt idx="90">
                  <c:v>449</c:v>
                </c:pt>
                <c:pt idx="91">
                  <c:v>449</c:v>
                </c:pt>
                <c:pt idx="92">
                  <c:v>449</c:v>
                </c:pt>
                <c:pt idx="93">
                  <c:v>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166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538327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42239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50241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449674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6219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650734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98847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35218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17412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477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830898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02539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51197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42880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99867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652001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24977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14716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25741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99773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2778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632202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1094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6897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46996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116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734176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1638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0833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8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44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54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59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64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69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7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17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chart" Target="../charts/chart18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chart" Target="../charts/chart19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chart" Target="../charts/chart20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chart" Target="../charts/chart2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chart" Target="../charts/chart2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chart" Target="../charts/chart2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chart" Target="../charts/chart2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chart" Target="../charts/chart2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chart" Target="../charts/chart26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chart" Target="../charts/chart27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chart" Target="../charts/chart28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9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30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9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31449389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DBA8862-7EC8-4236-BD88-84C58FE0D5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43DA75C-A493-410B-A92F-56CB961AD5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6890140F-289C-4968-BD5B-4C3014F0D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70395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3C86EA61-3A36-4888-83D2-1D26D038C4A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841942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5F6DC33-FC14-48F6-A124-9212E59234C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DEFAAB1D-A976-46AE-B685-61B8519EA6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1488665-64F4-4D24-A973-B69E03CB5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B4E32BD-92D1-4358-B948-8289A4A15A6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84AB519-DC07-4553-ACA3-A15FBF2B35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AE9415C-3DD7-41D6-97DB-E5BFF61F019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7C8DA15-B52D-4250-BCE9-A47296BCCF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6362223-65C8-4664-92A5-DC97243141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254103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74E6D6B-9D4A-4D8A-9EDD-65584929BD5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C928E801-69D9-4148-A8EB-E1A475AD8B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AA624A1E-EABB-46AD-ABFE-2465611643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69639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2A9FF718-8EFE-4598-BD66-43B9118ECAA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8120057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D46A782-A8D5-41F8-9396-5EF3947AAB1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F387743-4A12-4FF0-B4A7-94489DAD193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B5A1FAD-868B-4418-A0B7-5A89332BB8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EFC4B81-4D62-4D37-A2F3-F049544A34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252C432-C18B-46B0-B936-3B14584483A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8AF83B0-D470-40FF-B260-F1E91C76EA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EE8B1C0-D4E8-4FCB-8D4F-8E7F45942B7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14DEF78-44B6-4533-9425-BF7426736F0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74884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9B29871-BA80-4B14-BA07-20AB76A4D04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9851B7DA-C11B-4D80-9482-1491643DC1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80EF8D6B-A098-440D-A14B-EC87C68BFBB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66315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4F7D2BD5-8EB8-4A3A-ABFC-6B7EA274E1A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279333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98A8B57-3B0C-4009-A372-BF8F4484FDD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A48F1DA-3F30-4D48-84AB-525A854A548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152C73-06BC-49C4-92B3-E1917560FDD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214436C4-CCE7-48EE-95D7-C07297BAAD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8C0E933-D664-4802-B035-C783192840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93CCB69-2F68-4961-BF5E-159A6C57AD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E84D2E8F-E0F8-4881-BA66-B466D3C5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0D1E438-65A3-4368-8EAB-21B0C6162C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81243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A9DF3F08-CB1D-4E7E-A6C5-CF6113EA022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CE229A99-2B0E-4F98-8B42-FC4161B889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55ABC8DC-6845-4C83-BBBE-11B38977CD7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026626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4543ABAD-5DB1-46FA-A3F5-A742994A449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5903067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3F741FC-5DA6-44A9-A329-FD7386F45A3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47EFC7F-6CD2-4634-A522-53C7473F29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3E39FED-C4FA-4F4E-904F-7AC6A46E3C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BC875855-30D0-45F2-8BA4-51E6AE1476E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18B5EF1-C285-4864-8791-1DA940E865E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D65D8A1-F2C1-4D34-8593-1BF91867EF4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72122724-97C9-4823-B0D6-98DE73D96C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AA69A8-B232-4271-A14A-3DDF53DF16B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180584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5B77329-5F94-4950-A7E1-5AE6F43BB37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5528F7CD-7BB1-4B65-A8A9-8A1537EB00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558392B3-BA27-4408-B0A5-CAC7502FA8F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000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8BC38C0F-7919-4368-B35A-AC9A9D9E659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343952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F07FB8A-785F-43FF-849C-BD212969703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EC2512C-18F3-4784-B443-315B14EADE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825DAD4-59A6-47E0-8E56-10131964F93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298CF3B-16E7-4A94-86F9-E45F553BF1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516D415-F2A0-4E31-A5DC-312C92F5CD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53345343-B65B-4FB4-94CC-47714CAEE0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3CA9CE7E-6B69-4151-8C0B-22CE15CC7A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C62E56A-0B2B-439F-949B-BC7EDD9FE4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26858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D2DFDD4-2601-453F-AB31-678732B45A2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043B3663-C118-4C75-BFC9-112848E980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9BF00D79-D8DD-4184-9481-C587FEC4485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91448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BD894778-B291-44D5-81BA-53CA7C98A1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816469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FC81AE9-22B1-4920-B16E-9C7E4049FF8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4307E98-6560-45E3-8486-9B3A933AF2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1771D43-2EA8-4AC1-9BC4-E2FE50AC0F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B317E3C-EE9E-4FAC-9ED4-760348A6053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D0CA403-66DD-434F-B50B-83651B1E06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350B0D73-2564-4AE3-BD33-FF192D0F613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F76031A-D813-4CFA-9630-1F8808D1FE0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AE5341A-3874-4271-9ED7-33CC1B19E3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58160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4" name="Skupina 43">
            <a:extLst>
              <a:ext uri="{FF2B5EF4-FFF2-40B4-BE49-F238E27FC236}">
                <a16:creationId xmlns:a16="http://schemas.microsoft.com/office/drawing/2014/main" id="{B48E02A2-D782-4135-9AB0-4A669D8B24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5" name="Straight Connector 33">
              <a:extLst>
                <a:ext uri="{FF2B5EF4-FFF2-40B4-BE49-F238E27FC236}">
                  <a16:creationId xmlns:a16="http://schemas.microsoft.com/office/drawing/2014/main" id="{5EF53F91-2358-4DD7-B54D-DFA92D3C58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34">
              <a:extLst>
                <a:ext uri="{FF2B5EF4-FFF2-40B4-BE49-F238E27FC236}">
                  <a16:creationId xmlns:a16="http://schemas.microsoft.com/office/drawing/2014/main" id="{F24CA985-435A-4402-B726-04D881A0F1D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82101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EE6683A5-A918-46EC-A271-47E3A954C50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360895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48B7CC-4597-4A4A-AB48-59F558ACF1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EBEAA2D-53FA-4256-88C4-56B34C27F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51F8ABF3-283C-4A3C-99A0-7B62E97739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FA2CDE1-D94E-4B36-9F4B-8B4ED39209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45C2BDD-71CA-4EF6-9255-1AE1171141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5EA5E0C-6CFD-4B8D-BB7E-055D2E377D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7A5282-2291-4044-AC81-17C77FFC9B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4BD482CD-0BA4-46B0-A492-FF51CBC720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32849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3936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89899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1.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BB3DD7B4-6C6F-4BC2-BBFB-B01579135D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29228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78437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1.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08803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ABDCC584-29AC-47E3-A836-E53CB82C6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3680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022256F-5037-4EFE-A4D1-18E7AA95AF1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5ADE6D6-8FC4-43FF-8AF8-E57CBCB267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E6C9D64-8940-4E28-A9BD-6CF84861CE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E3E9002-D69F-4CA7-B69E-DF845523D38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941D5C7-2249-4E35-8F63-17299A6555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34FD94-14ED-47E8-A0B3-287467FC8E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AC59442-F893-4A17-9AFD-86BDCFB9798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4062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38080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A47BA973-5EE7-4EFE-887A-6027066B404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3460181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10617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35257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070BF2B0-1E76-4D64-8767-E7E40A2F7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88995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5B0FFB6-462B-4EF5-9631-40265F42C4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C23B910-FE6D-488A-9F47-0DF8547F26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5A3BFF59-6216-4BB7-BB5C-3B406C0914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1B9B09C-C9C1-4CA9-9F5E-49E0B891E6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08AE777-DCCA-4837-9150-450E38730B1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9A68052-644D-426F-AFBE-CB59D45CD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A8FBF22-2E0C-447E-8F9B-D073679ED8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619161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559881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4A7E114B-1D43-4067-A590-A25AAFA82B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58491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7D2696-E061-4387-9FAD-1313E44425E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9175CC7-2FBE-4C04-95B9-9100ADDE4F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731D9AA-BE8D-4A43-BD83-944D3EB830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134438-1EFC-414A-8B31-43A74EAFA8D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67E26DD-5C69-4A9F-BC57-21553ACE5B7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C3C7EF6-7E25-4DEC-8F07-C2DD48498D6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648E951-00CB-4C53-BC88-7583CF48E2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116104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1.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82670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B8E86877-2E58-4AA0-A402-B0FD209401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6800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D24545A-EDBD-4C52-AE3F-0A3DF8FBDC9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80537EA-F742-4AB2-82C3-C66919FBCB7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4B49360-ABD5-478E-BCE6-267D877031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A39BD61-7F86-407B-8EF9-64CD912C9E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979A3E9-F3F0-469A-8F2C-C379831ECC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5A3D19C4-D603-4F3C-85C0-300DD2934A5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F08B5DBB-50E3-4123-802D-B75321035B0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049986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47087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332C080E-482C-413B-993A-884C4B3E84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05896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5B1FE5F-3CF1-4B1F-ADE5-031631E67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5ED688A-6579-40D7-855E-2972D17039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21D20C6-D038-43B0-BC17-7225A9907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9A7071D-D002-44CC-AFFA-2E58CBA3DB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41845CB-59C1-4669-B18D-46E428B2B9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5FC9C9D-DC3D-4692-8743-D640E625F0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E9081454-C4E6-42F0-A825-560B55F99A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202508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021306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3ED072E7-5965-4187-80C1-7F6EF1DB6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81301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6F6AB1-522F-4B4B-8528-0B02A8DB71F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4C54F66-0B2D-455E-99CF-1D5D8B8A0A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91E7428-26EC-43C7-82F3-51BAEF485C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FD34EAA3-479B-4215-A0F5-E56A259667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3BDEAE3-A73A-4335-96CA-9CD1DE9B1F0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9957306-4A5A-4935-85B5-89040C2B263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54D5CDBB-5E0F-48E1-A490-8DEC616330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759560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435908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1DC88141-390A-43EB-9A75-AA32E06B06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341902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FA30912-1077-4D14-AE57-4BD68F85935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CC892D-1A34-43BD-9692-D6932E1F97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55D44A8-A1ED-478E-ABCE-31ED6C92AD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FABD3403-3436-46A9-864E-45A886E5E4E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E9EA093-26EB-4B3F-B314-350E90C1207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A18BF14-9808-405F-8258-5D5A478C125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8C7E209-DBB2-4A2A-8BAF-8E6FB6835D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263712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418805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2C6F13BF-AD87-4B4F-8FD0-1CAB54616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577849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D7C55C0-7966-4801-86B5-778A5B12CDA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5D3FE65-BEB2-4F89-8BF1-FD97D624DFE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3F802AE-3B24-47D4-A03B-300CE14601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9ADA4A8-1561-4EA6-931F-8BA07126CF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90A5B80-2ECE-4715-95A3-93A887582E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37C40AF8-6125-49C6-BD06-69B7EF1087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322FEEFD-D4DD-4E13-8778-C7227479F3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345313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38961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F6C33000-DB67-42F0-BC91-1732FF808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826691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D8B4C68-F312-4445-96AF-2EDD4E53117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0B096D6-27D0-4F76-9EAA-4656F0F025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D89AE404-195A-4B49-8FD4-601E71BB473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2D64FE07-5EFF-4B18-954F-57ADA585F8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90C7C03-DB35-4EFE-921B-1EB044D1BE2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36B394A-6084-411A-83D4-DF92328DE3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24241EC-C164-44CA-ABA5-F044FBBCB0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842635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1.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52108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5737FA8D-E024-4769-9015-20C9AD84F7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332996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63389DD-BDD8-4EBA-9685-252ABB38979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801D65F-B457-4372-9D2E-D1D57C7B8D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7308793-687C-4401-96EF-525BCFF54F7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EED4BE6-9226-4EAC-A4DC-981DE0C813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9AAF2B6-06FD-4E96-BAFF-5C284DD705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C0C7B06-5545-4DB2-9244-9284CE4068E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573F2F47-8C25-4244-A5D0-9C13121EB5C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352037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727402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9DCB84D7-0A76-4CC9-A020-6A45D65FC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04802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9F98869-2F64-43EC-A8AD-85E1673217B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05A0201-A965-4F20-8252-B2578EE871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2C9CF1D-EF39-4E2B-B27F-6533314E53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E6DAF4F-201A-4E73-BEE8-02F858E3647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FD6A268-7B92-4B1E-A20D-5BF0C287D9B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5F64C10B-F55F-41B6-9834-541530E8F54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F64FF8B-7521-4877-A2ED-C9D51A4DC73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845842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1C4D77A2-5018-4848-B7FD-E07C50210D0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44" name="Straight Connector 33">
              <a:extLst>
                <a:ext uri="{FF2B5EF4-FFF2-40B4-BE49-F238E27FC236}">
                  <a16:creationId xmlns:a16="http://schemas.microsoft.com/office/drawing/2014/main" id="{A8A41E5F-1E1A-407F-A6AF-6E07825C2D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34">
              <a:extLst>
                <a:ext uri="{FF2B5EF4-FFF2-40B4-BE49-F238E27FC236}">
                  <a16:creationId xmlns:a16="http://schemas.microsoft.com/office/drawing/2014/main" id="{CC89AC25-83EC-4ACB-8242-54A6ACFF088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050753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A9D8E738-9885-427A-B925-B2905C21C28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9619959"/>
              </p:ext>
            </p:extLst>
          </p:nvPr>
        </p:nvGraphicFramePr>
        <p:xfrm>
          <a:off x="6914932" y="1094367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7A85E93-6E5F-4DBB-A544-486063F296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661D28F-2793-41D4-862A-3CB9BA2790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DF66280-69BC-4AE4-ADBF-0F171B19BD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E43EF7F-F696-4CF3-878C-6BB5C180B9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993756D-AD82-47A1-8575-AE7860F7CE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D2189B5-D86F-44A7-A84D-EE7CE084C0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47C03DF-7EB0-479F-AF79-E3B79A5431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5FF3E1C-1EFE-47F0-8E18-49538278C9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6220355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43285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E03C315C-8E90-43B0-8921-4E41F7D8D4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2137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63A579F-5CB1-4BCD-8646-37901ED6A3A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3E2766C-54F7-4E85-84F4-7C14779FD5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D7FFB87-66AC-41F2-846E-E153E015DC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B1A700F-6B85-4F16-94CC-C28A92A932C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37F3D66-F7C0-48B7-A3D7-1CA7F5C2EF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F1183F8-4BB3-4A4E-B3DE-B0464102DD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B55E063-26FE-4334-B3E7-73FFA52543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787403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1.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946454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945B3214-44EF-481B-85F6-E4CAB122B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08696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A43F190-94A1-4436-B98A-6629E82280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0BF714D-0DF4-4A44-A88A-54745A6CDD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BD70DF9-2F0C-4902-B0B2-112F9ECD583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562AD19-0417-4C02-AE6E-3ACC96B1443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421DB38-7149-4D42-B256-B69123B14D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6926D30-55E1-434C-B0F5-9831A09394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06C422F-84AF-4229-8B4D-E796BF7717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0132057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1.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1.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926136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A2BA2535-9D47-48A8-85B3-158163A675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96119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11/2020–02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5F0A214-D213-45E1-925E-7BADC2A2176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32849CD-5A91-4EE7-A794-3D120921A7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DCE4963B-FEF4-4812-971A-C1132B70D8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02AAEB11-7A95-4599-8072-D266357D5E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29B088B-5371-4100-A380-B3402F965F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795C2F7-AB97-4712-B547-F854FA9391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4D61954-642A-47C4-AAF7-853A015714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168643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AB9C83A7-18A8-4C47-9DF4-3F85E6BD71C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12E154B7-68D1-4B37-AB05-1A64930BB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8BE9CD33-426A-419B-9DBC-B6A1F30F45F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419651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3918525E-91C8-4724-941B-4DA2573044D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903643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47DCF36-9D4D-494F-93F1-CA316806F5C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44AB019-CFCC-4198-8DC5-35ED49E68B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83AE2B9-BC3E-40CE-BF3E-D1B8B76B17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92026D7-15D6-4AC8-886B-FE5AFDA998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F98C14F4-A1F0-4507-B0B1-F86379DF426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A6910EE5-6E72-429C-ACF0-D0E36F678C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FBFDEA7-B7FD-4F28-95F0-A77D2CAFAF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FD1F636-0E4B-48A3-A8FF-AEB57A98ADD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3121464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A423DB1A-7F1E-4A3C-BCDA-5A50A49CF77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D88CBD4D-2D1C-48BD-8608-922B3FF65A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0220B212-000B-4C8C-823F-8AE113412E3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627332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01078FAE-7570-4992-A347-F10D7609D22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50209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F28DB88-9E49-4B38-B1E2-5C194D2C084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FA2E6E9-709B-4D5B-BB75-6D9D1370D2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2087EEF-4AFF-4E77-AA30-3760F4A89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A6A6883-E6C4-42B5-A4E7-C56BEA606D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FEF2164-E8AA-4553-B899-8CF24634254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B39BCDE-0DCF-4653-B568-973B90A70E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59A35057-EDBD-4778-9BAE-A737217E4EB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EB14427C-4BE3-426D-9D10-164EFF7203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32850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72524E97-2072-4D20-8DE9-4DA13DF5EC8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2EAA9F67-7A89-4EB6-BAB7-0D765AF3BA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F06D627E-E8E6-47AB-BBE3-088B1C2718A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933124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94F8D72E-370C-485E-860B-98D8EB9ABCB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7060188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FD6B993A-F0B7-4A1E-B460-33FDCB6533A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D96A000E-E52F-4B5F-934E-DA27B116A7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1BA8B8F7-CF29-4825-B4F3-7C3A346896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08DBA79F-9E22-4230-AB91-0BEC7AF8D5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BE5FCC6E-814B-4ACF-8387-822FEA9E9AF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6AF65B5-78E0-40F1-8C87-26AA8E145A2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B5425A6D-3B9F-44C6-A53C-91C732FB43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8F71927-1259-4778-B245-C5C4ED0C1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29750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908DD614-CF20-490A-93BC-CE6A1F6262C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1AF51ADE-8C53-45D8-9159-FC3C6CEC36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2336A411-D760-4215-8FD7-2480B7DE375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308760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F7578E17-2ACA-4338-8CAE-73A0124E695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6701211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FA11EED-4DC9-4E0B-8D0F-00B06274F03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D42CDAC-C7D3-41FE-A822-1374C6C32A5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9C95337-F3D0-44DD-850E-FCD96F1CE1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117416B-F4AD-476B-85E3-A3DAFBB46C4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5A9C90B-F804-4C02-AEDA-DA613BDEC86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76021E12-7699-40DE-9F2B-C7CBB3365A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D2293E4-C11F-47FD-B842-B5F6A08C0E6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0518B83-AABE-4ACB-AC28-FB9B5E65BEC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5909447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B62155FB-2903-4CF9-BE0E-025258C039E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0A5EE2E5-D78E-477B-BFD6-1062A6232C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EB96722E-03AF-4E00-BAE3-7B5F2D3F531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297686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7F4417BF-2376-4F02-981D-856B67C365E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5888860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ADCED45-FB9B-4C6E-98F7-100F405056E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64EDD3B-2711-49CE-81BE-4DEEF865B6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13E266CA-DA0A-4E13-BEE5-AA08AA0BE9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0BA8FDA7-C06B-4F58-855A-F045BD13DF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E6B083A-9E8F-4770-9F1A-2058F7F9CD6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322E3BDC-0BB1-4E4A-B240-734C1DF67CB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3F90EAB-246B-4F33-A1A2-F760CED3359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DF6CE37-A1AC-4050-82B8-06D65088455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1138522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852ECD31-5312-4C69-945B-C7C61F91D0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794338" y="1050626"/>
            <a:ext cx="3502394" cy="951327"/>
            <a:chOff x="6462419" y="1469144"/>
            <a:chExt cx="3502394" cy="951327"/>
          </a:xfrm>
        </p:grpSpPr>
        <p:cxnSp>
          <p:nvCxnSpPr>
            <p:cNvPr id="31" name="Straight Connector 33">
              <a:extLst>
                <a:ext uri="{FF2B5EF4-FFF2-40B4-BE49-F238E27FC236}">
                  <a16:creationId xmlns:a16="http://schemas.microsoft.com/office/drawing/2014/main" id="{E8C6DA2F-50ED-4C35-AB6B-F8CF3F9963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4">
              <a:extLst>
                <a:ext uri="{FF2B5EF4-FFF2-40B4-BE49-F238E27FC236}">
                  <a16:creationId xmlns:a16="http://schemas.microsoft.com/office/drawing/2014/main" id="{6446F803-3034-4DD7-AF35-AEF19C445C9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93085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A21429BA-EEC7-4618-A1C3-ABC4F6480FF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7059935"/>
              </p:ext>
            </p:extLst>
          </p:nvPr>
        </p:nvGraphicFramePr>
        <p:xfrm>
          <a:off x="6911890" y="109436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11/2020–02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</a:t>
                      </a:r>
                      <a:r>
                        <a:rPr lang="cs-CZ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álně nedostupné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5334E00-FD51-4C6A-84AB-C20E6D56661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E1894E1-6FCE-44AF-8848-DE72B501CF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D4AF5CD1-A278-4FA7-B9FE-E3A530A1A6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CD5C2CA-31A0-443A-A851-61AE4FDE34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B5B87AE-F3AF-4D98-8698-33A411A94B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4C2850-D529-4482-8043-547D4ABE57B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5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80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A42A9A-966D-4A8E-A5C4-D335A1AD2A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610AF35-697B-4C0D-87BE-D84475AC37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346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</TotalTime>
  <Words>2064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roš Jakub Ing.</cp:lastModifiedBy>
  <cp:revision>53</cp:revision>
  <dcterms:created xsi:type="dcterms:W3CDTF">2021-03-07T17:05:03Z</dcterms:created>
  <dcterms:modified xsi:type="dcterms:W3CDTF">2021-03-28T16:38:04Z</dcterms:modified>
</cp:coreProperties>
</file>